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21"/>
  </p:notesMasterIdLst>
  <p:sldIdLst>
    <p:sldId id="277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93" d="100"/>
          <a:sy n="93" d="100"/>
        </p:scale>
        <p:origin x="726" y="7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F369CC-8733-4B96-9882-143492295758}" type="datetimeFigureOut">
              <a:rPr lang="pt-BR" smtClean="0"/>
              <a:t>21/09/2015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D98562-6728-430E-AC80-6A469BEE609A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9734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5.png"/><Relationship Id="rId4" Type="http://schemas.openxmlformats.org/officeDocument/2006/relationships/tags" Target="../tags/tag5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322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527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528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_Bottom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5614" y="2569409"/>
            <a:ext cx="4010024" cy="747713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/>
          </p:nvPr>
        </p:nvSpPr>
        <p:spPr>
          <a:xfrm>
            <a:off x="455613" y="3372453"/>
            <a:ext cx="4010024" cy="35067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1500" b="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5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921668" y="4707801"/>
            <a:ext cx="3739896" cy="167039"/>
            <a:chOff x="533400" y="3606804"/>
            <a:chExt cx="8077201" cy="481012"/>
          </a:xfrm>
          <a:solidFill>
            <a:schemeClr val="tx1"/>
          </a:solidFill>
        </p:grpSpPr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533400" y="3621091"/>
              <a:ext cx="1577975" cy="450850"/>
            </a:xfrm>
            <a:custGeom>
              <a:avLst/>
              <a:gdLst>
                <a:gd name="T0" fmla="*/ 43 w 421"/>
                <a:gd name="T1" fmla="*/ 70 h 120"/>
                <a:gd name="T2" fmla="*/ 0 w 421"/>
                <a:gd name="T3" fmla="*/ 23 h 120"/>
                <a:gd name="T4" fmla="*/ 49 w 421"/>
                <a:gd name="T5" fmla="*/ 13 h 120"/>
                <a:gd name="T6" fmla="*/ 27 w 421"/>
                <a:gd name="T7" fmla="*/ 40 h 120"/>
                <a:gd name="T8" fmla="*/ 23 w 421"/>
                <a:gd name="T9" fmla="*/ 95 h 120"/>
                <a:gd name="T10" fmla="*/ 2 w 421"/>
                <a:gd name="T11" fmla="*/ 81 h 120"/>
                <a:gd name="T12" fmla="*/ 74 w 421"/>
                <a:gd name="T13" fmla="*/ 79 h 120"/>
                <a:gd name="T14" fmla="*/ 63 w 421"/>
                <a:gd name="T15" fmla="*/ 31 h 120"/>
                <a:gd name="T16" fmla="*/ 83 w 421"/>
                <a:gd name="T17" fmla="*/ 9 h 120"/>
                <a:gd name="T18" fmla="*/ 99 w 421"/>
                <a:gd name="T19" fmla="*/ 38 h 120"/>
                <a:gd name="T20" fmla="*/ 92 w 421"/>
                <a:gd name="T21" fmla="*/ 86 h 120"/>
                <a:gd name="T22" fmla="*/ 99 w 421"/>
                <a:gd name="T23" fmla="*/ 94 h 120"/>
                <a:gd name="T24" fmla="*/ 120 w 421"/>
                <a:gd name="T25" fmla="*/ 31 h 120"/>
                <a:gd name="T26" fmla="*/ 142 w 421"/>
                <a:gd name="T27" fmla="*/ 29 h 120"/>
                <a:gd name="T28" fmla="*/ 120 w 421"/>
                <a:gd name="T29" fmla="*/ 94 h 120"/>
                <a:gd name="T30" fmla="*/ 183 w 421"/>
                <a:gd name="T31" fmla="*/ 94 h 120"/>
                <a:gd name="T32" fmla="*/ 164 w 421"/>
                <a:gd name="T33" fmla="*/ 95 h 120"/>
                <a:gd name="T34" fmla="*/ 183 w 421"/>
                <a:gd name="T35" fmla="*/ 56 h 120"/>
                <a:gd name="T36" fmla="*/ 149 w 421"/>
                <a:gd name="T37" fmla="*/ 47 h 120"/>
                <a:gd name="T38" fmla="*/ 192 w 421"/>
                <a:gd name="T39" fmla="*/ 94 h 120"/>
                <a:gd name="T40" fmla="*/ 178 w 421"/>
                <a:gd name="T41" fmla="*/ 65 h 120"/>
                <a:gd name="T42" fmla="*/ 182 w 421"/>
                <a:gd name="T43" fmla="*/ 77 h 120"/>
                <a:gd name="T44" fmla="*/ 178 w 421"/>
                <a:gd name="T45" fmla="*/ 65 h 120"/>
                <a:gd name="T46" fmla="*/ 218 w 421"/>
                <a:gd name="T47" fmla="*/ 79 h 120"/>
                <a:gd name="T48" fmla="*/ 207 w 421"/>
                <a:gd name="T49" fmla="*/ 31 h 120"/>
                <a:gd name="T50" fmla="*/ 226 w 421"/>
                <a:gd name="T51" fmla="*/ 9 h 120"/>
                <a:gd name="T52" fmla="*/ 243 w 421"/>
                <a:gd name="T53" fmla="*/ 38 h 120"/>
                <a:gd name="T54" fmla="*/ 235 w 421"/>
                <a:gd name="T55" fmla="*/ 86 h 120"/>
                <a:gd name="T56" fmla="*/ 243 w 421"/>
                <a:gd name="T57" fmla="*/ 94 h 120"/>
                <a:gd name="T58" fmla="*/ 252 w 421"/>
                <a:gd name="T59" fmla="*/ 59 h 120"/>
                <a:gd name="T60" fmla="*/ 298 w 421"/>
                <a:gd name="T61" fmla="*/ 56 h 120"/>
                <a:gd name="T62" fmla="*/ 284 w 421"/>
                <a:gd name="T63" fmla="*/ 86 h 120"/>
                <a:gd name="T64" fmla="*/ 297 w 421"/>
                <a:gd name="T65" fmla="*/ 94 h 120"/>
                <a:gd name="T66" fmla="*/ 262 w 421"/>
                <a:gd name="T67" fmla="*/ 49 h 120"/>
                <a:gd name="T68" fmla="*/ 347 w 421"/>
                <a:gd name="T69" fmla="*/ 81 h 120"/>
                <a:gd name="T70" fmla="*/ 309 w 421"/>
                <a:gd name="T71" fmla="*/ 61 h 120"/>
                <a:gd name="T72" fmla="*/ 347 w 421"/>
                <a:gd name="T73" fmla="*/ 40 h 120"/>
                <a:gd name="T74" fmla="*/ 356 w 421"/>
                <a:gd name="T75" fmla="*/ 94 h 120"/>
                <a:gd name="T76" fmla="*/ 311 w 421"/>
                <a:gd name="T77" fmla="*/ 110 h 120"/>
                <a:gd name="T78" fmla="*/ 347 w 421"/>
                <a:gd name="T79" fmla="*/ 81 h 120"/>
                <a:gd name="T80" fmla="*/ 332 w 421"/>
                <a:gd name="T81" fmla="*/ 36 h 120"/>
                <a:gd name="T82" fmla="*/ 347 w 421"/>
                <a:gd name="T83" fmla="*/ 61 h 120"/>
                <a:gd name="T84" fmla="*/ 367 w 421"/>
                <a:gd name="T85" fmla="*/ 31 h 120"/>
                <a:gd name="T86" fmla="*/ 394 w 421"/>
                <a:gd name="T87" fmla="*/ 79 h 120"/>
                <a:gd name="T88" fmla="*/ 390 w 421"/>
                <a:gd name="T89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1" h="120">
                  <a:moveTo>
                    <a:pt x="2" y="81"/>
                  </a:moveTo>
                  <a:cubicBezTo>
                    <a:pt x="9" y="85"/>
                    <a:pt x="16" y="86"/>
                    <a:pt x="23" y="86"/>
                  </a:cubicBezTo>
                  <a:cubicBezTo>
                    <a:pt x="34" y="86"/>
                    <a:pt x="43" y="81"/>
                    <a:pt x="43" y="70"/>
                  </a:cubicBezTo>
                  <a:cubicBezTo>
                    <a:pt x="43" y="59"/>
                    <a:pt x="36" y="56"/>
                    <a:pt x="29" y="52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1" y="41"/>
                    <a:pt x="0" y="36"/>
                    <a:pt x="0" y="23"/>
                  </a:cubicBezTo>
                  <a:cubicBezTo>
                    <a:pt x="0" y="7"/>
                    <a:pt x="14" y="0"/>
                    <a:pt x="31" y="0"/>
                  </a:cubicBezTo>
                  <a:cubicBezTo>
                    <a:pt x="36" y="0"/>
                    <a:pt x="43" y="2"/>
                    <a:pt x="49" y="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3" y="11"/>
                    <a:pt x="36" y="9"/>
                    <a:pt x="29" y="9"/>
                  </a:cubicBezTo>
                  <a:cubicBezTo>
                    <a:pt x="20" y="9"/>
                    <a:pt x="13" y="13"/>
                    <a:pt x="13" y="23"/>
                  </a:cubicBezTo>
                  <a:cubicBezTo>
                    <a:pt x="13" y="31"/>
                    <a:pt x="20" y="36"/>
                    <a:pt x="27" y="40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7" y="50"/>
                    <a:pt x="56" y="56"/>
                    <a:pt x="56" y="68"/>
                  </a:cubicBezTo>
                  <a:cubicBezTo>
                    <a:pt x="56" y="88"/>
                    <a:pt x="40" y="95"/>
                    <a:pt x="23" y="95"/>
                  </a:cubicBezTo>
                  <a:cubicBezTo>
                    <a:pt x="16" y="95"/>
                    <a:pt x="9" y="94"/>
                    <a:pt x="2" y="92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2" y="81"/>
                    <a:pt x="2" y="81"/>
                    <a:pt x="2" y="81"/>
                  </a:cubicBezTo>
                  <a:close/>
                  <a:moveTo>
                    <a:pt x="99" y="94"/>
                  </a:moveTo>
                  <a:cubicBezTo>
                    <a:pt x="95" y="95"/>
                    <a:pt x="94" y="95"/>
                    <a:pt x="90" y="95"/>
                  </a:cubicBezTo>
                  <a:cubicBezTo>
                    <a:pt x="79" y="95"/>
                    <a:pt x="74" y="90"/>
                    <a:pt x="74" y="79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83"/>
                    <a:pt x="85" y="86"/>
                    <a:pt x="92" y="86"/>
                  </a:cubicBezTo>
                  <a:cubicBezTo>
                    <a:pt x="95" y="86"/>
                    <a:pt x="97" y="86"/>
                    <a:pt x="99" y="86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9" y="94"/>
                    <a:pt x="99" y="94"/>
                  </a:cubicBezTo>
                  <a:close/>
                  <a:moveTo>
                    <a:pt x="112" y="94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4" y="32"/>
                    <a:pt x="131" y="29"/>
                    <a:pt x="142" y="29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26" y="38"/>
                    <a:pt x="120" y="54"/>
                    <a:pt x="120" y="67"/>
                  </a:cubicBezTo>
                  <a:cubicBezTo>
                    <a:pt x="120" y="94"/>
                    <a:pt x="120" y="94"/>
                    <a:pt x="120" y="94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2" y="94"/>
                    <a:pt x="112" y="94"/>
                    <a:pt x="112" y="94"/>
                  </a:cubicBezTo>
                  <a:close/>
                  <a:moveTo>
                    <a:pt x="183" y="94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83" y="85"/>
                    <a:pt x="183" y="85"/>
                    <a:pt x="183" y="85"/>
                  </a:cubicBezTo>
                  <a:cubicBezTo>
                    <a:pt x="180" y="92"/>
                    <a:pt x="171" y="95"/>
                    <a:pt x="164" y="95"/>
                  </a:cubicBezTo>
                  <a:cubicBezTo>
                    <a:pt x="153" y="95"/>
                    <a:pt x="147" y="88"/>
                    <a:pt x="147" y="77"/>
                  </a:cubicBezTo>
                  <a:cubicBezTo>
                    <a:pt x="147" y="63"/>
                    <a:pt x="164" y="58"/>
                    <a:pt x="183" y="58"/>
                  </a:cubicBezTo>
                  <a:cubicBezTo>
                    <a:pt x="183" y="56"/>
                    <a:pt x="183" y="56"/>
                    <a:pt x="183" y="56"/>
                  </a:cubicBezTo>
                  <a:cubicBezTo>
                    <a:pt x="183" y="47"/>
                    <a:pt x="183" y="36"/>
                    <a:pt x="171" y="36"/>
                  </a:cubicBezTo>
                  <a:cubicBezTo>
                    <a:pt x="164" y="36"/>
                    <a:pt x="160" y="38"/>
                    <a:pt x="158" y="47"/>
                  </a:cubicBezTo>
                  <a:cubicBezTo>
                    <a:pt x="149" y="47"/>
                    <a:pt x="149" y="47"/>
                    <a:pt x="149" y="47"/>
                  </a:cubicBezTo>
                  <a:cubicBezTo>
                    <a:pt x="149" y="34"/>
                    <a:pt x="160" y="29"/>
                    <a:pt x="171" y="29"/>
                  </a:cubicBezTo>
                  <a:cubicBezTo>
                    <a:pt x="185" y="29"/>
                    <a:pt x="192" y="34"/>
                    <a:pt x="192" y="49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94"/>
                    <a:pt x="183" y="94"/>
                    <a:pt x="183" y="94"/>
                  </a:cubicBezTo>
                  <a:close/>
                  <a:moveTo>
                    <a:pt x="178" y="65"/>
                  </a:moveTo>
                  <a:cubicBezTo>
                    <a:pt x="171" y="65"/>
                    <a:pt x="158" y="68"/>
                    <a:pt x="158" y="77"/>
                  </a:cubicBezTo>
                  <a:cubicBezTo>
                    <a:pt x="158" y="83"/>
                    <a:pt x="162" y="86"/>
                    <a:pt x="167" y="86"/>
                  </a:cubicBezTo>
                  <a:cubicBezTo>
                    <a:pt x="173" y="86"/>
                    <a:pt x="178" y="83"/>
                    <a:pt x="182" y="77"/>
                  </a:cubicBezTo>
                  <a:cubicBezTo>
                    <a:pt x="183" y="72"/>
                    <a:pt x="183" y="70"/>
                    <a:pt x="183" y="65"/>
                  </a:cubicBezTo>
                  <a:cubicBezTo>
                    <a:pt x="178" y="65"/>
                    <a:pt x="178" y="65"/>
                    <a:pt x="178" y="65"/>
                  </a:cubicBezTo>
                  <a:cubicBezTo>
                    <a:pt x="178" y="65"/>
                    <a:pt x="178" y="65"/>
                    <a:pt x="178" y="65"/>
                  </a:cubicBezTo>
                  <a:close/>
                  <a:moveTo>
                    <a:pt x="243" y="94"/>
                  </a:moveTo>
                  <a:cubicBezTo>
                    <a:pt x="239" y="95"/>
                    <a:pt x="237" y="95"/>
                    <a:pt x="234" y="95"/>
                  </a:cubicBezTo>
                  <a:cubicBezTo>
                    <a:pt x="223" y="95"/>
                    <a:pt x="218" y="90"/>
                    <a:pt x="218" y="7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07" y="38"/>
                    <a:pt x="207" y="38"/>
                    <a:pt x="207" y="38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18" y="31"/>
                    <a:pt x="218" y="31"/>
                    <a:pt x="218" y="31"/>
                  </a:cubicBezTo>
                  <a:cubicBezTo>
                    <a:pt x="218" y="14"/>
                    <a:pt x="218" y="14"/>
                    <a:pt x="218" y="14"/>
                  </a:cubicBezTo>
                  <a:cubicBezTo>
                    <a:pt x="226" y="9"/>
                    <a:pt x="226" y="9"/>
                    <a:pt x="226" y="9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43" y="31"/>
                    <a:pt x="243" y="31"/>
                    <a:pt x="243" y="31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26" y="38"/>
                    <a:pt x="226" y="38"/>
                    <a:pt x="226" y="38"/>
                  </a:cubicBezTo>
                  <a:cubicBezTo>
                    <a:pt x="226" y="77"/>
                    <a:pt x="226" y="77"/>
                    <a:pt x="226" y="77"/>
                  </a:cubicBezTo>
                  <a:cubicBezTo>
                    <a:pt x="226" y="83"/>
                    <a:pt x="228" y="86"/>
                    <a:pt x="235" y="86"/>
                  </a:cubicBezTo>
                  <a:cubicBezTo>
                    <a:pt x="239" y="86"/>
                    <a:pt x="239" y="86"/>
                    <a:pt x="243" y="86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43" y="94"/>
                    <a:pt x="243" y="94"/>
                    <a:pt x="243" y="94"/>
                  </a:cubicBezTo>
                  <a:close/>
                  <a:moveTo>
                    <a:pt x="297" y="94"/>
                  </a:moveTo>
                  <a:cubicBezTo>
                    <a:pt x="291" y="94"/>
                    <a:pt x="288" y="95"/>
                    <a:pt x="282" y="95"/>
                  </a:cubicBezTo>
                  <a:cubicBezTo>
                    <a:pt x="261" y="95"/>
                    <a:pt x="252" y="81"/>
                    <a:pt x="252" y="59"/>
                  </a:cubicBezTo>
                  <a:cubicBezTo>
                    <a:pt x="252" y="43"/>
                    <a:pt x="257" y="29"/>
                    <a:pt x="275" y="29"/>
                  </a:cubicBezTo>
                  <a:cubicBezTo>
                    <a:pt x="291" y="29"/>
                    <a:pt x="298" y="38"/>
                    <a:pt x="298" y="52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61" y="59"/>
                    <a:pt x="261" y="59"/>
                    <a:pt x="261" y="59"/>
                  </a:cubicBezTo>
                  <a:cubicBezTo>
                    <a:pt x="261" y="74"/>
                    <a:pt x="268" y="86"/>
                    <a:pt x="284" y="86"/>
                  </a:cubicBezTo>
                  <a:cubicBezTo>
                    <a:pt x="288" y="86"/>
                    <a:pt x="293" y="86"/>
                    <a:pt x="297" y="85"/>
                  </a:cubicBezTo>
                  <a:cubicBezTo>
                    <a:pt x="297" y="94"/>
                    <a:pt x="297" y="94"/>
                    <a:pt x="297" y="94"/>
                  </a:cubicBezTo>
                  <a:cubicBezTo>
                    <a:pt x="297" y="94"/>
                    <a:pt x="297" y="94"/>
                    <a:pt x="297" y="94"/>
                  </a:cubicBezTo>
                  <a:close/>
                  <a:moveTo>
                    <a:pt x="288" y="49"/>
                  </a:moveTo>
                  <a:cubicBezTo>
                    <a:pt x="288" y="41"/>
                    <a:pt x="282" y="36"/>
                    <a:pt x="275" y="36"/>
                  </a:cubicBezTo>
                  <a:cubicBezTo>
                    <a:pt x="268" y="36"/>
                    <a:pt x="264" y="41"/>
                    <a:pt x="262" y="49"/>
                  </a:cubicBezTo>
                  <a:cubicBezTo>
                    <a:pt x="288" y="49"/>
                    <a:pt x="288" y="49"/>
                    <a:pt x="288" y="49"/>
                  </a:cubicBezTo>
                  <a:cubicBezTo>
                    <a:pt x="288" y="49"/>
                    <a:pt x="288" y="49"/>
                    <a:pt x="288" y="49"/>
                  </a:cubicBezTo>
                  <a:close/>
                  <a:moveTo>
                    <a:pt x="347" y="81"/>
                  </a:moveTo>
                  <a:cubicBezTo>
                    <a:pt x="347" y="81"/>
                    <a:pt x="347" y="81"/>
                    <a:pt x="347" y="81"/>
                  </a:cubicBezTo>
                  <a:cubicBezTo>
                    <a:pt x="343" y="88"/>
                    <a:pt x="338" y="94"/>
                    <a:pt x="329" y="94"/>
                  </a:cubicBezTo>
                  <a:cubicBezTo>
                    <a:pt x="313" y="94"/>
                    <a:pt x="309" y="76"/>
                    <a:pt x="309" y="61"/>
                  </a:cubicBezTo>
                  <a:cubicBezTo>
                    <a:pt x="309" y="49"/>
                    <a:pt x="313" y="29"/>
                    <a:pt x="331" y="29"/>
                  </a:cubicBezTo>
                  <a:cubicBezTo>
                    <a:pt x="338" y="29"/>
                    <a:pt x="345" y="32"/>
                    <a:pt x="347" y="40"/>
                  </a:cubicBezTo>
                  <a:cubicBezTo>
                    <a:pt x="347" y="40"/>
                    <a:pt x="347" y="40"/>
                    <a:pt x="347" y="40"/>
                  </a:cubicBezTo>
                  <a:cubicBezTo>
                    <a:pt x="347" y="31"/>
                    <a:pt x="347" y="31"/>
                    <a:pt x="347" y="31"/>
                  </a:cubicBezTo>
                  <a:cubicBezTo>
                    <a:pt x="356" y="31"/>
                    <a:pt x="356" y="31"/>
                    <a:pt x="356" y="31"/>
                  </a:cubicBezTo>
                  <a:cubicBezTo>
                    <a:pt x="356" y="94"/>
                    <a:pt x="356" y="94"/>
                    <a:pt x="356" y="94"/>
                  </a:cubicBezTo>
                  <a:cubicBezTo>
                    <a:pt x="356" y="112"/>
                    <a:pt x="347" y="120"/>
                    <a:pt x="329" y="120"/>
                  </a:cubicBezTo>
                  <a:cubicBezTo>
                    <a:pt x="324" y="120"/>
                    <a:pt x="318" y="120"/>
                    <a:pt x="311" y="119"/>
                  </a:cubicBezTo>
                  <a:cubicBezTo>
                    <a:pt x="311" y="110"/>
                    <a:pt x="311" y="110"/>
                    <a:pt x="311" y="110"/>
                  </a:cubicBezTo>
                  <a:cubicBezTo>
                    <a:pt x="316" y="112"/>
                    <a:pt x="322" y="113"/>
                    <a:pt x="327" y="113"/>
                  </a:cubicBezTo>
                  <a:cubicBezTo>
                    <a:pt x="341" y="113"/>
                    <a:pt x="347" y="106"/>
                    <a:pt x="347" y="92"/>
                  </a:cubicBezTo>
                  <a:cubicBezTo>
                    <a:pt x="347" y="81"/>
                    <a:pt x="347" y="81"/>
                    <a:pt x="347" y="81"/>
                  </a:cubicBezTo>
                  <a:cubicBezTo>
                    <a:pt x="347" y="81"/>
                    <a:pt x="347" y="81"/>
                    <a:pt x="347" y="81"/>
                  </a:cubicBezTo>
                  <a:close/>
                  <a:moveTo>
                    <a:pt x="347" y="61"/>
                  </a:moveTo>
                  <a:cubicBezTo>
                    <a:pt x="347" y="52"/>
                    <a:pt x="343" y="36"/>
                    <a:pt x="332" y="36"/>
                  </a:cubicBezTo>
                  <a:cubicBezTo>
                    <a:pt x="320" y="36"/>
                    <a:pt x="318" y="54"/>
                    <a:pt x="318" y="63"/>
                  </a:cubicBezTo>
                  <a:cubicBezTo>
                    <a:pt x="318" y="70"/>
                    <a:pt x="320" y="86"/>
                    <a:pt x="331" y="86"/>
                  </a:cubicBezTo>
                  <a:cubicBezTo>
                    <a:pt x="343" y="86"/>
                    <a:pt x="347" y="70"/>
                    <a:pt x="347" y="61"/>
                  </a:cubicBezTo>
                  <a:close/>
                  <a:moveTo>
                    <a:pt x="381" y="119"/>
                  </a:moveTo>
                  <a:cubicBezTo>
                    <a:pt x="390" y="94"/>
                    <a:pt x="390" y="94"/>
                    <a:pt x="390" y="94"/>
                  </a:cubicBezTo>
                  <a:cubicBezTo>
                    <a:pt x="367" y="31"/>
                    <a:pt x="367" y="31"/>
                    <a:pt x="367" y="31"/>
                  </a:cubicBezTo>
                  <a:cubicBezTo>
                    <a:pt x="376" y="31"/>
                    <a:pt x="376" y="31"/>
                    <a:pt x="376" y="31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412" y="31"/>
                    <a:pt x="412" y="31"/>
                    <a:pt x="412" y="31"/>
                  </a:cubicBezTo>
                  <a:cubicBezTo>
                    <a:pt x="421" y="31"/>
                    <a:pt x="421" y="31"/>
                    <a:pt x="421" y="31"/>
                  </a:cubicBezTo>
                  <a:cubicBezTo>
                    <a:pt x="390" y="119"/>
                    <a:pt x="390" y="119"/>
                    <a:pt x="390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81" y="119"/>
                    <a:pt x="381" y="119"/>
                    <a:pt x="381" y="1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2276475" y="3606804"/>
              <a:ext cx="30163" cy="481012"/>
            </a:xfrm>
            <a:custGeom>
              <a:avLst/>
              <a:gdLst>
                <a:gd name="T0" fmla="*/ 0 w 8"/>
                <a:gd name="T1" fmla="*/ 128 h 128"/>
                <a:gd name="T2" fmla="*/ 0 w 8"/>
                <a:gd name="T3" fmla="*/ 0 h 128"/>
                <a:gd name="T4" fmla="*/ 8 w 8"/>
                <a:gd name="T5" fmla="*/ 0 h 128"/>
                <a:gd name="T6" fmla="*/ 8 w 8"/>
                <a:gd name="T7" fmla="*/ 128 h 128"/>
                <a:gd name="T8" fmla="*/ 0 w 8"/>
                <a:gd name="T9" fmla="*/ 128 h 128"/>
                <a:gd name="T10" fmla="*/ 0 w 8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2509838" y="3629029"/>
              <a:ext cx="1169988" cy="442912"/>
            </a:xfrm>
            <a:custGeom>
              <a:avLst/>
              <a:gdLst>
                <a:gd name="T0" fmla="*/ 0 w 312"/>
                <a:gd name="T1" fmla="*/ 0 h 118"/>
                <a:gd name="T2" fmla="*/ 59 w 312"/>
                <a:gd name="T3" fmla="*/ 45 h 118"/>
                <a:gd name="T4" fmla="*/ 18 w 312"/>
                <a:gd name="T5" fmla="*/ 92 h 118"/>
                <a:gd name="T6" fmla="*/ 0 w 312"/>
                <a:gd name="T7" fmla="*/ 92 h 118"/>
                <a:gd name="T8" fmla="*/ 34 w 312"/>
                <a:gd name="T9" fmla="*/ 81 h 118"/>
                <a:gd name="T10" fmla="*/ 32 w 312"/>
                <a:gd name="T11" fmla="*/ 11 h 118"/>
                <a:gd name="T12" fmla="*/ 10 w 312"/>
                <a:gd name="T13" fmla="*/ 9 h 118"/>
                <a:gd name="T14" fmla="*/ 18 w 312"/>
                <a:gd name="T15" fmla="*/ 83 h 118"/>
                <a:gd name="T16" fmla="*/ 73 w 312"/>
                <a:gd name="T17" fmla="*/ 11 h 118"/>
                <a:gd name="T18" fmla="*/ 86 w 312"/>
                <a:gd name="T19" fmla="*/ 0 h 118"/>
                <a:gd name="T20" fmla="*/ 73 w 312"/>
                <a:gd name="T21" fmla="*/ 11 h 118"/>
                <a:gd name="T22" fmla="*/ 75 w 312"/>
                <a:gd name="T23" fmla="*/ 92 h 118"/>
                <a:gd name="T24" fmla="*/ 84 w 312"/>
                <a:gd name="T25" fmla="*/ 29 h 118"/>
                <a:gd name="T26" fmla="*/ 75 w 312"/>
                <a:gd name="T27" fmla="*/ 92 h 118"/>
                <a:gd name="T28" fmla="*/ 140 w 312"/>
                <a:gd name="T29" fmla="*/ 79 h 118"/>
                <a:gd name="T30" fmla="*/ 122 w 312"/>
                <a:gd name="T31" fmla="*/ 92 h 118"/>
                <a:gd name="T32" fmla="*/ 122 w 312"/>
                <a:gd name="T33" fmla="*/ 27 h 118"/>
                <a:gd name="T34" fmla="*/ 140 w 312"/>
                <a:gd name="T35" fmla="*/ 38 h 118"/>
                <a:gd name="T36" fmla="*/ 149 w 312"/>
                <a:gd name="T37" fmla="*/ 29 h 118"/>
                <a:gd name="T38" fmla="*/ 122 w 312"/>
                <a:gd name="T39" fmla="*/ 118 h 118"/>
                <a:gd name="T40" fmla="*/ 104 w 312"/>
                <a:gd name="T41" fmla="*/ 108 h 118"/>
                <a:gd name="T42" fmla="*/ 140 w 312"/>
                <a:gd name="T43" fmla="*/ 90 h 118"/>
                <a:gd name="T44" fmla="*/ 140 w 312"/>
                <a:gd name="T45" fmla="*/ 79 h 118"/>
                <a:gd name="T46" fmla="*/ 124 w 312"/>
                <a:gd name="T47" fmla="*/ 34 h 118"/>
                <a:gd name="T48" fmla="*/ 124 w 312"/>
                <a:gd name="T49" fmla="*/ 84 h 118"/>
                <a:gd name="T50" fmla="*/ 167 w 312"/>
                <a:gd name="T51" fmla="*/ 11 h 118"/>
                <a:gd name="T52" fmla="*/ 179 w 312"/>
                <a:gd name="T53" fmla="*/ 0 h 118"/>
                <a:gd name="T54" fmla="*/ 167 w 312"/>
                <a:gd name="T55" fmla="*/ 11 h 118"/>
                <a:gd name="T56" fmla="*/ 168 w 312"/>
                <a:gd name="T57" fmla="*/ 92 h 118"/>
                <a:gd name="T58" fmla="*/ 177 w 312"/>
                <a:gd name="T59" fmla="*/ 29 h 118"/>
                <a:gd name="T60" fmla="*/ 168 w 312"/>
                <a:gd name="T61" fmla="*/ 92 h 118"/>
                <a:gd name="T62" fmla="*/ 230 w 312"/>
                <a:gd name="T63" fmla="*/ 92 h 118"/>
                <a:gd name="T64" fmla="*/ 203 w 312"/>
                <a:gd name="T65" fmla="*/ 77 h 118"/>
                <a:gd name="T66" fmla="*/ 194 w 312"/>
                <a:gd name="T67" fmla="*/ 36 h 118"/>
                <a:gd name="T68" fmla="*/ 203 w 312"/>
                <a:gd name="T69" fmla="*/ 29 h 118"/>
                <a:gd name="T70" fmla="*/ 212 w 312"/>
                <a:gd name="T71" fmla="*/ 7 h 118"/>
                <a:gd name="T72" fmla="*/ 230 w 312"/>
                <a:gd name="T73" fmla="*/ 29 h 118"/>
                <a:gd name="T74" fmla="*/ 212 w 312"/>
                <a:gd name="T75" fmla="*/ 36 h 118"/>
                <a:gd name="T76" fmla="*/ 222 w 312"/>
                <a:gd name="T77" fmla="*/ 84 h 118"/>
                <a:gd name="T78" fmla="*/ 230 w 312"/>
                <a:gd name="T79" fmla="*/ 92 h 118"/>
                <a:gd name="T80" fmla="*/ 273 w 312"/>
                <a:gd name="T81" fmla="*/ 92 h 118"/>
                <a:gd name="T82" fmla="*/ 273 w 312"/>
                <a:gd name="T83" fmla="*/ 83 h 118"/>
                <a:gd name="T84" fmla="*/ 237 w 312"/>
                <a:gd name="T85" fmla="*/ 75 h 118"/>
                <a:gd name="T86" fmla="*/ 273 w 312"/>
                <a:gd name="T87" fmla="*/ 54 h 118"/>
                <a:gd name="T88" fmla="*/ 247 w 312"/>
                <a:gd name="T89" fmla="*/ 45 h 118"/>
                <a:gd name="T90" fmla="*/ 260 w 312"/>
                <a:gd name="T91" fmla="*/ 27 h 118"/>
                <a:gd name="T92" fmla="*/ 282 w 312"/>
                <a:gd name="T93" fmla="*/ 92 h 118"/>
                <a:gd name="T94" fmla="*/ 273 w 312"/>
                <a:gd name="T95" fmla="*/ 92 h 118"/>
                <a:gd name="T96" fmla="*/ 247 w 312"/>
                <a:gd name="T97" fmla="*/ 75 h 118"/>
                <a:gd name="T98" fmla="*/ 271 w 312"/>
                <a:gd name="T99" fmla="*/ 75 h 118"/>
                <a:gd name="T100" fmla="*/ 267 w 312"/>
                <a:gd name="T101" fmla="*/ 63 h 118"/>
                <a:gd name="T102" fmla="*/ 303 w 312"/>
                <a:gd name="T103" fmla="*/ 92 h 118"/>
                <a:gd name="T104" fmla="*/ 312 w 312"/>
                <a:gd name="T105" fmla="*/ 0 h 118"/>
                <a:gd name="T106" fmla="*/ 303 w 312"/>
                <a:gd name="T107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2" h="118">
                  <a:moveTo>
                    <a:pt x="0" y="9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50" y="0"/>
                    <a:pt x="59" y="18"/>
                    <a:pt x="59" y="45"/>
                  </a:cubicBezTo>
                  <a:cubicBezTo>
                    <a:pt x="59" y="63"/>
                    <a:pt x="55" y="83"/>
                    <a:pt x="37" y="88"/>
                  </a:cubicBezTo>
                  <a:cubicBezTo>
                    <a:pt x="30" y="92"/>
                    <a:pt x="25" y="92"/>
                    <a:pt x="18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2"/>
                    <a:pt x="0" y="92"/>
                  </a:cubicBezTo>
                  <a:close/>
                  <a:moveTo>
                    <a:pt x="18" y="83"/>
                  </a:moveTo>
                  <a:cubicBezTo>
                    <a:pt x="23" y="83"/>
                    <a:pt x="28" y="83"/>
                    <a:pt x="34" y="81"/>
                  </a:cubicBezTo>
                  <a:cubicBezTo>
                    <a:pt x="46" y="74"/>
                    <a:pt x="48" y="57"/>
                    <a:pt x="48" y="45"/>
                  </a:cubicBezTo>
                  <a:cubicBezTo>
                    <a:pt x="48" y="32"/>
                    <a:pt x="46" y="16"/>
                    <a:pt x="32" y="11"/>
                  </a:cubicBezTo>
                  <a:cubicBezTo>
                    <a:pt x="26" y="9"/>
                    <a:pt x="21" y="9"/>
                    <a:pt x="16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lose/>
                  <a:moveTo>
                    <a:pt x="73" y="11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close/>
                  <a:moveTo>
                    <a:pt x="75" y="92"/>
                  </a:moveTo>
                  <a:cubicBezTo>
                    <a:pt x="75" y="29"/>
                    <a:pt x="75" y="29"/>
                    <a:pt x="75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75" y="92"/>
                    <a:pt x="75" y="92"/>
                    <a:pt x="75" y="92"/>
                  </a:cubicBezTo>
                  <a:cubicBezTo>
                    <a:pt x="75" y="92"/>
                    <a:pt x="75" y="92"/>
                    <a:pt x="75" y="92"/>
                  </a:cubicBezTo>
                  <a:close/>
                  <a:moveTo>
                    <a:pt x="140" y="79"/>
                  </a:moveTo>
                  <a:cubicBezTo>
                    <a:pt x="140" y="79"/>
                    <a:pt x="140" y="79"/>
                    <a:pt x="140" y="79"/>
                  </a:cubicBezTo>
                  <a:cubicBezTo>
                    <a:pt x="136" y="86"/>
                    <a:pt x="131" y="92"/>
                    <a:pt x="122" y="92"/>
                  </a:cubicBezTo>
                  <a:cubicBezTo>
                    <a:pt x="106" y="92"/>
                    <a:pt x="100" y="74"/>
                    <a:pt x="100" y="59"/>
                  </a:cubicBezTo>
                  <a:cubicBezTo>
                    <a:pt x="100" y="47"/>
                    <a:pt x="106" y="27"/>
                    <a:pt x="122" y="27"/>
                  </a:cubicBezTo>
                  <a:cubicBezTo>
                    <a:pt x="131" y="27"/>
                    <a:pt x="136" y="30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29"/>
                    <a:pt x="140" y="29"/>
                    <a:pt x="140" y="29"/>
                  </a:cubicBezTo>
                  <a:cubicBezTo>
                    <a:pt x="149" y="29"/>
                    <a:pt x="149" y="29"/>
                    <a:pt x="149" y="29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49" y="110"/>
                    <a:pt x="140" y="118"/>
                    <a:pt x="122" y="118"/>
                  </a:cubicBezTo>
                  <a:cubicBezTo>
                    <a:pt x="115" y="118"/>
                    <a:pt x="111" y="118"/>
                    <a:pt x="104" y="117"/>
                  </a:cubicBezTo>
                  <a:cubicBezTo>
                    <a:pt x="104" y="108"/>
                    <a:pt x="104" y="108"/>
                    <a:pt x="104" y="108"/>
                  </a:cubicBezTo>
                  <a:cubicBezTo>
                    <a:pt x="109" y="110"/>
                    <a:pt x="115" y="111"/>
                    <a:pt x="120" y="111"/>
                  </a:cubicBezTo>
                  <a:cubicBezTo>
                    <a:pt x="134" y="111"/>
                    <a:pt x="140" y="104"/>
                    <a:pt x="140" y="90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79"/>
                    <a:pt x="140" y="79"/>
                    <a:pt x="140" y="79"/>
                  </a:cubicBezTo>
                  <a:close/>
                  <a:moveTo>
                    <a:pt x="140" y="59"/>
                  </a:moveTo>
                  <a:cubicBezTo>
                    <a:pt x="140" y="50"/>
                    <a:pt x="136" y="34"/>
                    <a:pt x="124" y="34"/>
                  </a:cubicBezTo>
                  <a:cubicBezTo>
                    <a:pt x="113" y="34"/>
                    <a:pt x="111" y="52"/>
                    <a:pt x="111" y="61"/>
                  </a:cubicBezTo>
                  <a:cubicBezTo>
                    <a:pt x="111" y="68"/>
                    <a:pt x="113" y="84"/>
                    <a:pt x="124" y="84"/>
                  </a:cubicBezTo>
                  <a:cubicBezTo>
                    <a:pt x="136" y="84"/>
                    <a:pt x="140" y="68"/>
                    <a:pt x="140" y="59"/>
                  </a:cubicBezTo>
                  <a:close/>
                  <a:moveTo>
                    <a:pt x="167" y="11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1"/>
                    <a:pt x="179" y="11"/>
                    <a:pt x="179" y="11"/>
                  </a:cubicBezTo>
                  <a:cubicBezTo>
                    <a:pt x="167" y="11"/>
                    <a:pt x="167" y="11"/>
                    <a:pt x="167" y="11"/>
                  </a:cubicBezTo>
                  <a:cubicBezTo>
                    <a:pt x="167" y="11"/>
                    <a:pt x="167" y="11"/>
                    <a:pt x="167" y="11"/>
                  </a:cubicBezTo>
                  <a:close/>
                  <a:moveTo>
                    <a:pt x="168" y="92"/>
                  </a:moveTo>
                  <a:cubicBezTo>
                    <a:pt x="168" y="29"/>
                    <a:pt x="168" y="29"/>
                    <a:pt x="168" y="29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77" y="92"/>
                    <a:pt x="177" y="92"/>
                    <a:pt x="177" y="92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68" y="92"/>
                    <a:pt x="168" y="92"/>
                  </a:cubicBezTo>
                  <a:close/>
                  <a:moveTo>
                    <a:pt x="230" y="92"/>
                  </a:moveTo>
                  <a:cubicBezTo>
                    <a:pt x="226" y="93"/>
                    <a:pt x="224" y="93"/>
                    <a:pt x="221" y="93"/>
                  </a:cubicBezTo>
                  <a:cubicBezTo>
                    <a:pt x="208" y="93"/>
                    <a:pt x="203" y="88"/>
                    <a:pt x="203" y="77"/>
                  </a:cubicBezTo>
                  <a:cubicBezTo>
                    <a:pt x="203" y="36"/>
                    <a:pt x="203" y="36"/>
                    <a:pt x="203" y="36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203" y="29"/>
                    <a:pt x="203" y="29"/>
                    <a:pt x="203" y="29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30" y="29"/>
                    <a:pt x="230" y="29"/>
                    <a:pt x="230" y="29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12" y="36"/>
                    <a:pt x="212" y="36"/>
                    <a:pt x="212" y="36"/>
                  </a:cubicBezTo>
                  <a:cubicBezTo>
                    <a:pt x="212" y="75"/>
                    <a:pt x="212" y="75"/>
                    <a:pt x="212" y="75"/>
                  </a:cubicBezTo>
                  <a:cubicBezTo>
                    <a:pt x="212" y="81"/>
                    <a:pt x="215" y="84"/>
                    <a:pt x="222" y="84"/>
                  </a:cubicBezTo>
                  <a:cubicBezTo>
                    <a:pt x="226" y="84"/>
                    <a:pt x="226" y="84"/>
                    <a:pt x="230" y="84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30" y="92"/>
                    <a:pt x="230" y="92"/>
                    <a:pt x="230" y="92"/>
                  </a:cubicBezTo>
                  <a:close/>
                  <a:moveTo>
                    <a:pt x="273" y="92"/>
                  </a:moveTo>
                  <a:cubicBezTo>
                    <a:pt x="273" y="83"/>
                    <a:pt x="273" y="83"/>
                    <a:pt x="273" y="83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69" y="90"/>
                    <a:pt x="260" y="93"/>
                    <a:pt x="253" y="93"/>
                  </a:cubicBezTo>
                  <a:cubicBezTo>
                    <a:pt x="242" y="93"/>
                    <a:pt x="237" y="86"/>
                    <a:pt x="237" y="75"/>
                  </a:cubicBezTo>
                  <a:cubicBezTo>
                    <a:pt x="237" y="61"/>
                    <a:pt x="253" y="56"/>
                    <a:pt x="273" y="56"/>
                  </a:cubicBezTo>
                  <a:cubicBezTo>
                    <a:pt x="273" y="54"/>
                    <a:pt x="273" y="54"/>
                    <a:pt x="273" y="54"/>
                  </a:cubicBezTo>
                  <a:cubicBezTo>
                    <a:pt x="273" y="45"/>
                    <a:pt x="274" y="34"/>
                    <a:pt x="262" y="34"/>
                  </a:cubicBezTo>
                  <a:cubicBezTo>
                    <a:pt x="253" y="34"/>
                    <a:pt x="249" y="36"/>
                    <a:pt x="247" y="45"/>
                  </a:cubicBezTo>
                  <a:cubicBezTo>
                    <a:pt x="238" y="45"/>
                    <a:pt x="238" y="45"/>
                    <a:pt x="238" y="45"/>
                  </a:cubicBezTo>
                  <a:cubicBezTo>
                    <a:pt x="238" y="32"/>
                    <a:pt x="249" y="27"/>
                    <a:pt x="260" y="27"/>
                  </a:cubicBezTo>
                  <a:cubicBezTo>
                    <a:pt x="274" y="27"/>
                    <a:pt x="282" y="32"/>
                    <a:pt x="282" y="47"/>
                  </a:cubicBezTo>
                  <a:cubicBezTo>
                    <a:pt x="282" y="92"/>
                    <a:pt x="282" y="92"/>
                    <a:pt x="282" y="92"/>
                  </a:cubicBezTo>
                  <a:cubicBezTo>
                    <a:pt x="273" y="92"/>
                    <a:pt x="273" y="92"/>
                    <a:pt x="273" y="92"/>
                  </a:cubicBezTo>
                  <a:cubicBezTo>
                    <a:pt x="273" y="92"/>
                    <a:pt x="273" y="92"/>
                    <a:pt x="273" y="92"/>
                  </a:cubicBezTo>
                  <a:close/>
                  <a:moveTo>
                    <a:pt x="267" y="63"/>
                  </a:moveTo>
                  <a:cubicBezTo>
                    <a:pt x="260" y="63"/>
                    <a:pt x="247" y="66"/>
                    <a:pt x="247" y="75"/>
                  </a:cubicBezTo>
                  <a:cubicBezTo>
                    <a:pt x="247" y="81"/>
                    <a:pt x="251" y="84"/>
                    <a:pt x="256" y="84"/>
                  </a:cubicBezTo>
                  <a:cubicBezTo>
                    <a:pt x="262" y="84"/>
                    <a:pt x="269" y="81"/>
                    <a:pt x="271" y="75"/>
                  </a:cubicBezTo>
                  <a:cubicBezTo>
                    <a:pt x="273" y="70"/>
                    <a:pt x="273" y="68"/>
                    <a:pt x="273" y="63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3"/>
                    <a:pt x="267" y="63"/>
                    <a:pt x="267" y="63"/>
                  </a:cubicBezTo>
                  <a:close/>
                  <a:moveTo>
                    <a:pt x="303" y="92"/>
                  </a:moveTo>
                  <a:cubicBezTo>
                    <a:pt x="303" y="0"/>
                    <a:pt x="303" y="0"/>
                    <a:pt x="303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2" y="92"/>
                    <a:pt x="312" y="92"/>
                    <a:pt x="312" y="92"/>
                  </a:cubicBezTo>
                  <a:cubicBezTo>
                    <a:pt x="303" y="92"/>
                    <a:pt x="303" y="92"/>
                    <a:pt x="303" y="92"/>
                  </a:cubicBezTo>
                  <a:cubicBezTo>
                    <a:pt x="303" y="92"/>
                    <a:pt x="303" y="92"/>
                    <a:pt x="303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3889375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4076700" y="3629029"/>
              <a:ext cx="2130425" cy="442912"/>
            </a:xfrm>
            <a:custGeom>
              <a:avLst/>
              <a:gdLst>
                <a:gd name="T0" fmla="*/ 0 w 568"/>
                <a:gd name="T1" fmla="*/ 9 h 118"/>
                <a:gd name="T2" fmla="*/ 54 w 568"/>
                <a:gd name="T3" fmla="*/ 9 h 118"/>
                <a:gd name="T4" fmla="*/ 22 w 568"/>
                <a:gd name="T5" fmla="*/ 92 h 118"/>
                <a:gd name="T6" fmla="*/ 88 w 568"/>
                <a:gd name="T7" fmla="*/ 93 h 118"/>
                <a:gd name="T8" fmla="*/ 103 w 568"/>
                <a:gd name="T9" fmla="*/ 50 h 118"/>
                <a:gd name="T10" fmla="*/ 67 w 568"/>
                <a:gd name="T11" fmla="*/ 57 h 118"/>
                <a:gd name="T12" fmla="*/ 103 w 568"/>
                <a:gd name="T13" fmla="*/ 92 h 118"/>
                <a:gd name="T14" fmla="*/ 81 w 568"/>
                <a:gd name="T15" fmla="*/ 34 h 118"/>
                <a:gd name="T16" fmla="*/ 94 w 568"/>
                <a:gd name="T17" fmla="*/ 47 h 118"/>
                <a:gd name="T18" fmla="*/ 113 w 568"/>
                <a:gd name="T19" fmla="*/ 57 h 118"/>
                <a:gd name="T20" fmla="*/ 151 w 568"/>
                <a:gd name="T21" fmla="*/ 47 h 118"/>
                <a:gd name="T22" fmla="*/ 149 w 568"/>
                <a:gd name="T23" fmla="*/ 84 h 118"/>
                <a:gd name="T24" fmla="*/ 160 w 568"/>
                <a:gd name="T25" fmla="*/ 92 h 118"/>
                <a:gd name="T26" fmla="*/ 201 w 568"/>
                <a:gd name="T27" fmla="*/ 36 h 118"/>
                <a:gd name="T28" fmla="*/ 174 w 568"/>
                <a:gd name="T29" fmla="*/ 92 h 118"/>
                <a:gd name="T30" fmla="*/ 183 w 568"/>
                <a:gd name="T31" fmla="*/ 43 h 118"/>
                <a:gd name="T32" fmla="*/ 219 w 568"/>
                <a:gd name="T33" fmla="*/ 47 h 118"/>
                <a:gd name="T34" fmla="*/ 210 w 568"/>
                <a:gd name="T35" fmla="*/ 92 h 118"/>
                <a:gd name="T36" fmla="*/ 266 w 568"/>
                <a:gd name="T37" fmla="*/ 36 h 118"/>
                <a:gd name="T38" fmla="*/ 239 w 568"/>
                <a:gd name="T39" fmla="*/ 92 h 118"/>
                <a:gd name="T40" fmla="*/ 248 w 568"/>
                <a:gd name="T41" fmla="*/ 43 h 118"/>
                <a:gd name="T42" fmla="*/ 284 w 568"/>
                <a:gd name="T43" fmla="*/ 47 h 118"/>
                <a:gd name="T44" fmla="*/ 275 w 568"/>
                <a:gd name="T45" fmla="*/ 92 h 118"/>
                <a:gd name="T46" fmla="*/ 351 w 568"/>
                <a:gd name="T47" fmla="*/ 59 h 118"/>
                <a:gd name="T48" fmla="*/ 342 w 568"/>
                <a:gd name="T49" fmla="*/ 59 h 118"/>
                <a:gd name="T50" fmla="*/ 325 w 568"/>
                <a:gd name="T51" fmla="*/ 84 h 118"/>
                <a:gd name="T52" fmla="*/ 367 w 568"/>
                <a:gd name="T53" fmla="*/ 0 h 118"/>
                <a:gd name="T54" fmla="*/ 367 w 568"/>
                <a:gd name="T55" fmla="*/ 92 h 118"/>
                <a:gd name="T56" fmla="*/ 419 w 568"/>
                <a:gd name="T57" fmla="*/ 27 h 118"/>
                <a:gd name="T58" fmla="*/ 394 w 568"/>
                <a:gd name="T59" fmla="*/ 59 h 118"/>
                <a:gd name="T60" fmla="*/ 403 w 568"/>
                <a:gd name="T61" fmla="*/ 59 h 118"/>
                <a:gd name="T62" fmla="*/ 494 w 568"/>
                <a:gd name="T63" fmla="*/ 79 h 118"/>
                <a:gd name="T64" fmla="*/ 455 w 568"/>
                <a:gd name="T65" fmla="*/ 59 h 118"/>
                <a:gd name="T66" fmla="*/ 494 w 568"/>
                <a:gd name="T67" fmla="*/ 38 h 118"/>
                <a:gd name="T68" fmla="*/ 503 w 568"/>
                <a:gd name="T69" fmla="*/ 92 h 118"/>
                <a:gd name="T70" fmla="*/ 458 w 568"/>
                <a:gd name="T71" fmla="*/ 108 h 118"/>
                <a:gd name="T72" fmla="*/ 494 w 568"/>
                <a:gd name="T73" fmla="*/ 79 h 118"/>
                <a:gd name="T74" fmla="*/ 478 w 568"/>
                <a:gd name="T75" fmla="*/ 34 h 118"/>
                <a:gd name="T76" fmla="*/ 494 w 568"/>
                <a:gd name="T77" fmla="*/ 59 h 118"/>
                <a:gd name="T78" fmla="*/ 512 w 568"/>
                <a:gd name="T79" fmla="*/ 29 h 118"/>
                <a:gd name="T80" fmla="*/ 541 w 568"/>
                <a:gd name="T81" fmla="*/ 77 h 118"/>
                <a:gd name="T82" fmla="*/ 537 w 568"/>
                <a:gd name="T83" fmla="*/ 11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68" h="118">
                  <a:moveTo>
                    <a:pt x="22" y="92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22" y="92"/>
                    <a:pt x="22" y="92"/>
                    <a:pt x="22" y="92"/>
                  </a:cubicBezTo>
                  <a:close/>
                  <a:moveTo>
                    <a:pt x="103" y="92"/>
                  </a:moveTo>
                  <a:cubicBezTo>
                    <a:pt x="97" y="92"/>
                    <a:pt x="92" y="93"/>
                    <a:pt x="88" y="93"/>
                  </a:cubicBezTo>
                  <a:cubicBezTo>
                    <a:pt x="65" y="93"/>
                    <a:pt x="56" y="79"/>
                    <a:pt x="56" y="57"/>
                  </a:cubicBezTo>
                  <a:cubicBezTo>
                    <a:pt x="56" y="41"/>
                    <a:pt x="63" y="27"/>
                    <a:pt x="81" y="27"/>
                  </a:cubicBezTo>
                  <a:cubicBezTo>
                    <a:pt x="95" y="27"/>
                    <a:pt x="103" y="36"/>
                    <a:pt x="103" y="50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72"/>
                    <a:pt x="74" y="84"/>
                    <a:pt x="90" y="84"/>
                  </a:cubicBezTo>
                  <a:cubicBezTo>
                    <a:pt x="94" y="84"/>
                    <a:pt x="97" y="84"/>
                    <a:pt x="103" y="83"/>
                  </a:cubicBezTo>
                  <a:cubicBezTo>
                    <a:pt x="103" y="92"/>
                    <a:pt x="103" y="92"/>
                    <a:pt x="103" y="92"/>
                  </a:cubicBezTo>
                  <a:cubicBezTo>
                    <a:pt x="103" y="92"/>
                    <a:pt x="103" y="92"/>
                    <a:pt x="103" y="92"/>
                  </a:cubicBezTo>
                  <a:close/>
                  <a:moveTo>
                    <a:pt x="94" y="47"/>
                  </a:moveTo>
                  <a:cubicBezTo>
                    <a:pt x="94" y="39"/>
                    <a:pt x="88" y="34"/>
                    <a:pt x="81" y="34"/>
                  </a:cubicBezTo>
                  <a:cubicBezTo>
                    <a:pt x="74" y="34"/>
                    <a:pt x="68" y="39"/>
                    <a:pt x="67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lose/>
                  <a:moveTo>
                    <a:pt x="160" y="92"/>
                  </a:moveTo>
                  <a:cubicBezTo>
                    <a:pt x="155" y="92"/>
                    <a:pt x="151" y="93"/>
                    <a:pt x="146" y="93"/>
                  </a:cubicBezTo>
                  <a:cubicBezTo>
                    <a:pt x="124" y="93"/>
                    <a:pt x="113" y="79"/>
                    <a:pt x="113" y="57"/>
                  </a:cubicBezTo>
                  <a:cubicBezTo>
                    <a:pt x="113" y="41"/>
                    <a:pt x="121" y="27"/>
                    <a:pt x="140" y="27"/>
                  </a:cubicBezTo>
                  <a:cubicBezTo>
                    <a:pt x="153" y="27"/>
                    <a:pt x="162" y="34"/>
                    <a:pt x="162" y="47"/>
                  </a:cubicBezTo>
                  <a:cubicBezTo>
                    <a:pt x="151" y="47"/>
                    <a:pt x="151" y="47"/>
                    <a:pt x="151" y="47"/>
                  </a:cubicBezTo>
                  <a:cubicBezTo>
                    <a:pt x="151" y="39"/>
                    <a:pt x="147" y="34"/>
                    <a:pt x="139" y="34"/>
                  </a:cubicBezTo>
                  <a:cubicBezTo>
                    <a:pt x="128" y="34"/>
                    <a:pt x="124" y="47"/>
                    <a:pt x="124" y="56"/>
                  </a:cubicBezTo>
                  <a:cubicBezTo>
                    <a:pt x="124" y="72"/>
                    <a:pt x="131" y="84"/>
                    <a:pt x="149" y="84"/>
                  </a:cubicBezTo>
                  <a:cubicBezTo>
                    <a:pt x="153" y="84"/>
                    <a:pt x="156" y="84"/>
                    <a:pt x="160" y="84"/>
                  </a:cubicBezTo>
                  <a:cubicBezTo>
                    <a:pt x="160" y="92"/>
                    <a:pt x="160" y="92"/>
                    <a:pt x="160" y="92"/>
                  </a:cubicBezTo>
                  <a:cubicBezTo>
                    <a:pt x="160" y="92"/>
                    <a:pt x="160" y="92"/>
                    <a:pt x="160" y="92"/>
                  </a:cubicBezTo>
                  <a:close/>
                  <a:moveTo>
                    <a:pt x="210" y="92"/>
                  </a:moveTo>
                  <a:cubicBezTo>
                    <a:pt x="210" y="56"/>
                    <a:pt x="210" y="56"/>
                    <a:pt x="210" y="56"/>
                  </a:cubicBezTo>
                  <a:cubicBezTo>
                    <a:pt x="210" y="48"/>
                    <a:pt x="210" y="36"/>
                    <a:pt x="201" y="36"/>
                  </a:cubicBezTo>
                  <a:cubicBezTo>
                    <a:pt x="189" y="36"/>
                    <a:pt x="183" y="56"/>
                    <a:pt x="183" y="65"/>
                  </a:cubicBezTo>
                  <a:cubicBezTo>
                    <a:pt x="183" y="92"/>
                    <a:pt x="183" y="92"/>
                    <a:pt x="183" y="92"/>
                  </a:cubicBezTo>
                  <a:cubicBezTo>
                    <a:pt x="174" y="92"/>
                    <a:pt x="174" y="92"/>
                    <a:pt x="174" y="92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7" y="32"/>
                    <a:pt x="192" y="27"/>
                    <a:pt x="203" y="27"/>
                  </a:cubicBezTo>
                  <a:cubicBezTo>
                    <a:pt x="214" y="27"/>
                    <a:pt x="219" y="36"/>
                    <a:pt x="219" y="47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0" y="92"/>
                    <a:pt x="210" y="92"/>
                    <a:pt x="210" y="92"/>
                  </a:cubicBezTo>
                  <a:cubicBezTo>
                    <a:pt x="210" y="92"/>
                    <a:pt x="210" y="92"/>
                    <a:pt x="210" y="92"/>
                  </a:cubicBezTo>
                  <a:close/>
                  <a:moveTo>
                    <a:pt x="275" y="92"/>
                  </a:moveTo>
                  <a:cubicBezTo>
                    <a:pt x="275" y="56"/>
                    <a:pt x="275" y="56"/>
                    <a:pt x="275" y="56"/>
                  </a:cubicBezTo>
                  <a:cubicBezTo>
                    <a:pt x="275" y="48"/>
                    <a:pt x="277" y="36"/>
                    <a:pt x="266" y="36"/>
                  </a:cubicBezTo>
                  <a:cubicBezTo>
                    <a:pt x="254" y="36"/>
                    <a:pt x="248" y="56"/>
                    <a:pt x="248" y="65"/>
                  </a:cubicBezTo>
                  <a:cubicBezTo>
                    <a:pt x="248" y="92"/>
                    <a:pt x="248" y="92"/>
                    <a:pt x="248" y="92"/>
                  </a:cubicBezTo>
                  <a:cubicBezTo>
                    <a:pt x="239" y="92"/>
                    <a:pt x="239" y="92"/>
                    <a:pt x="239" y="92"/>
                  </a:cubicBezTo>
                  <a:cubicBezTo>
                    <a:pt x="239" y="29"/>
                    <a:pt x="239" y="29"/>
                    <a:pt x="239" y="29"/>
                  </a:cubicBezTo>
                  <a:cubicBezTo>
                    <a:pt x="248" y="29"/>
                    <a:pt x="248" y="29"/>
                    <a:pt x="248" y="29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52" y="32"/>
                    <a:pt x="257" y="27"/>
                    <a:pt x="268" y="27"/>
                  </a:cubicBezTo>
                  <a:cubicBezTo>
                    <a:pt x="279" y="27"/>
                    <a:pt x="284" y="36"/>
                    <a:pt x="284" y="47"/>
                  </a:cubicBezTo>
                  <a:cubicBezTo>
                    <a:pt x="284" y="92"/>
                    <a:pt x="284" y="92"/>
                    <a:pt x="284" y="92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5" y="92"/>
                    <a:pt x="275" y="92"/>
                    <a:pt x="275" y="92"/>
                  </a:cubicBezTo>
                  <a:close/>
                  <a:moveTo>
                    <a:pt x="300" y="59"/>
                  </a:moveTo>
                  <a:cubicBezTo>
                    <a:pt x="300" y="43"/>
                    <a:pt x="306" y="27"/>
                    <a:pt x="325" y="27"/>
                  </a:cubicBezTo>
                  <a:cubicBezTo>
                    <a:pt x="345" y="27"/>
                    <a:pt x="351" y="43"/>
                    <a:pt x="351" y="59"/>
                  </a:cubicBezTo>
                  <a:cubicBezTo>
                    <a:pt x="351" y="77"/>
                    <a:pt x="345" y="93"/>
                    <a:pt x="325" y="93"/>
                  </a:cubicBezTo>
                  <a:cubicBezTo>
                    <a:pt x="306" y="93"/>
                    <a:pt x="300" y="77"/>
                    <a:pt x="300" y="59"/>
                  </a:cubicBezTo>
                  <a:close/>
                  <a:moveTo>
                    <a:pt x="342" y="59"/>
                  </a:moveTo>
                  <a:cubicBezTo>
                    <a:pt x="342" y="50"/>
                    <a:pt x="338" y="34"/>
                    <a:pt x="325" y="34"/>
                  </a:cubicBezTo>
                  <a:cubicBezTo>
                    <a:pt x="313" y="34"/>
                    <a:pt x="309" y="50"/>
                    <a:pt x="309" y="59"/>
                  </a:cubicBezTo>
                  <a:cubicBezTo>
                    <a:pt x="309" y="70"/>
                    <a:pt x="313" y="84"/>
                    <a:pt x="325" y="84"/>
                  </a:cubicBezTo>
                  <a:cubicBezTo>
                    <a:pt x="338" y="84"/>
                    <a:pt x="342" y="70"/>
                    <a:pt x="342" y="59"/>
                  </a:cubicBezTo>
                  <a:close/>
                  <a:moveTo>
                    <a:pt x="367" y="92"/>
                  </a:moveTo>
                  <a:cubicBezTo>
                    <a:pt x="367" y="0"/>
                    <a:pt x="367" y="0"/>
                    <a:pt x="367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67" y="92"/>
                    <a:pt x="367" y="92"/>
                    <a:pt x="367" y="92"/>
                  </a:cubicBezTo>
                  <a:cubicBezTo>
                    <a:pt x="367" y="92"/>
                    <a:pt x="367" y="92"/>
                    <a:pt x="367" y="92"/>
                  </a:cubicBezTo>
                  <a:close/>
                  <a:moveTo>
                    <a:pt x="394" y="59"/>
                  </a:moveTo>
                  <a:cubicBezTo>
                    <a:pt x="394" y="43"/>
                    <a:pt x="399" y="27"/>
                    <a:pt x="419" y="27"/>
                  </a:cubicBezTo>
                  <a:cubicBezTo>
                    <a:pt x="439" y="27"/>
                    <a:pt x="444" y="43"/>
                    <a:pt x="444" y="59"/>
                  </a:cubicBezTo>
                  <a:cubicBezTo>
                    <a:pt x="444" y="77"/>
                    <a:pt x="439" y="93"/>
                    <a:pt x="419" y="93"/>
                  </a:cubicBezTo>
                  <a:cubicBezTo>
                    <a:pt x="399" y="93"/>
                    <a:pt x="394" y="77"/>
                    <a:pt x="394" y="59"/>
                  </a:cubicBezTo>
                  <a:close/>
                  <a:moveTo>
                    <a:pt x="435" y="59"/>
                  </a:moveTo>
                  <a:cubicBezTo>
                    <a:pt x="435" y="50"/>
                    <a:pt x="431" y="34"/>
                    <a:pt x="419" y="34"/>
                  </a:cubicBezTo>
                  <a:cubicBezTo>
                    <a:pt x="406" y="34"/>
                    <a:pt x="403" y="50"/>
                    <a:pt x="403" y="59"/>
                  </a:cubicBezTo>
                  <a:cubicBezTo>
                    <a:pt x="403" y="70"/>
                    <a:pt x="406" y="84"/>
                    <a:pt x="419" y="84"/>
                  </a:cubicBezTo>
                  <a:cubicBezTo>
                    <a:pt x="431" y="84"/>
                    <a:pt x="435" y="70"/>
                    <a:pt x="435" y="59"/>
                  </a:cubicBezTo>
                  <a:close/>
                  <a:moveTo>
                    <a:pt x="494" y="79"/>
                  </a:moveTo>
                  <a:cubicBezTo>
                    <a:pt x="494" y="79"/>
                    <a:pt x="494" y="79"/>
                    <a:pt x="494" y="79"/>
                  </a:cubicBezTo>
                  <a:cubicBezTo>
                    <a:pt x="491" y="86"/>
                    <a:pt x="485" y="92"/>
                    <a:pt x="476" y="92"/>
                  </a:cubicBezTo>
                  <a:cubicBezTo>
                    <a:pt x="460" y="92"/>
                    <a:pt x="455" y="74"/>
                    <a:pt x="455" y="59"/>
                  </a:cubicBezTo>
                  <a:cubicBezTo>
                    <a:pt x="455" y="47"/>
                    <a:pt x="460" y="27"/>
                    <a:pt x="476" y="27"/>
                  </a:cubicBezTo>
                  <a:cubicBezTo>
                    <a:pt x="485" y="27"/>
                    <a:pt x="491" y="30"/>
                    <a:pt x="494" y="38"/>
                  </a:cubicBezTo>
                  <a:cubicBezTo>
                    <a:pt x="494" y="38"/>
                    <a:pt x="494" y="38"/>
                    <a:pt x="494" y="38"/>
                  </a:cubicBezTo>
                  <a:cubicBezTo>
                    <a:pt x="494" y="29"/>
                    <a:pt x="494" y="29"/>
                    <a:pt x="494" y="29"/>
                  </a:cubicBezTo>
                  <a:cubicBezTo>
                    <a:pt x="503" y="29"/>
                    <a:pt x="503" y="29"/>
                    <a:pt x="503" y="29"/>
                  </a:cubicBezTo>
                  <a:cubicBezTo>
                    <a:pt x="503" y="92"/>
                    <a:pt x="503" y="92"/>
                    <a:pt x="503" y="92"/>
                  </a:cubicBezTo>
                  <a:cubicBezTo>
                    <a:pt x="503" y="110"/>
                    <a:pt x="494" y="118"/>
                    <a:pt x="476" y="118"/>
                  </a:cubicBezTo>
                  <a:cubicBezTo>
                    <a:pt x="469" y="118"/>
                    <a:pt x="466" y="118"/>
                    <a:pt x="458" y="117"/>
                  </a:cubicBezTo>
                  <a:cubicBezTo>
                    <a:pt x="458" y="108"/>
                    <a:pt x="458" y="108"/>
                    <a:pt x="458" y="108"/>
                  </a:cubicBezTo>
                  <a:cubicBezTo>
                    <a:pt x="464" y="110"/>
                    <a:pt x="469" y="111"/>
                    <a:pt x="474" y="111"/>
                  </a:cubicBezTo>
                  <a:cubicBezTo>
                    <a:pt x="489" y="111"/>
                    <a:pt x="494" y="104"/>
                    <a:pt x="494" y="90"/>
                  </a:cubicBezTo>
                  <a:cubicBezTo>
                    <a:pt x="494" y="79"/>
                    <a:pt x="494" y="79"/>
                    <a:pt x="494" y="79"/>
                  </a:cubicBezTo>
                  <a:cubicBezTo>
                    <a:pt x="494" y="79"/>
                    <a:pt x="494" y="79"/>
                    <a:pt x="494" y="79"/>
                  </a:cubicBezTo>
                  <a:close/>
                  <a:moveTo>
                    <a:pt x="494" y="59"/>
                  </a:moveTo>
                  <a:cubicBezTo>
                    <a:pt x="494" y="50"/>
                    <a:pt x="491" y="34"/>
                    <a:pt x="478" y="34"/>
                  </a:cubicBezTo>
                  <a:cubicBezTo>
                    <a:pt x="467" y="34"/>
                    <a:pt x="466" y="52"/>
                    <a:pt x="466" y="61"/>
                  </a:cubicBezTo>
                  <a:cubicBezTo>
                    <a:pt x="466" y="68"/>
                    <a:pt x="467" y="84"/>
                    <a:pt x="478" y="84"/>
                  </a:cubicBezTo>
                  <a:cubicBezTo>
                    <a:pt x="491" y="84"/>
                    <a:pt x="494" y="68"/>
                    <a:pt x="494" y="59"/>
                  </a:cubicBezTo>
                  <a:close/>
                  <a:moveTo>
                    <a:pt x="528" y="117"/>
                  </a:moveTo>
                  <a:cubicBezTo>
                    <a:pt x="537" y="92"/>
                    <a:pt x="537" y="92"/>
                    <a:pt x="537" y="92"/>
                  </a:cubicBezTo>
                  <a:cubicBezTo>
                    <a:pt x="512" y="29"/>
                    <a:pt x="512" y="29"/>
                    <a:pt x="512" y="29"/>
                  </a:cubicBezTo>
                  <a:cubicBezTo>
                    <a:pt x="523" y="29"/>
                    <a:pt x="523" y="29"/>
                    <a:pt x="523" y="29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59" y="29"/>
                    <a:pt x="559" y="29"/>
                    <a:pt x="559" y="29"/>
                  </a:cubicBezTo>
                  <a:cubicBezTo>
                    <a:pt x="568" y="29"/>
                    <a:pt x="568" y="29"/>
                    <a:pt x="568" y="29"/>
                  </a:cubicBezTo>
                  <a:cubicBezTo>
                    <a:pt x="537" y="117"/>
                    <a:pt x="537" y="117"/>
                    <a:pt x="537" y="117"/>
                  </a:cubicBezTo>
                  <a:cubicBezTo>
                    <a:pt x="528" y="117"/>
                    <a:pt x="528" y="117"/>
                    <a:pt x="528" y="117"/>
                  </a:cubicBezTo>
                  <a:cubicBezTo>
                    <a:pt x="528" y="117"/>
                    <a:pt x="528" y="117"/>
                    <a:pt x="528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6375400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12"/>
            <p:cNvSpPr>
              <a:spLocks noEditPoints="1"/>
            </p:cNvSpPr>
            <p:nvPr userDrawn="1"/>
          </p:nvSpPr>
          <p:spPr bwMode="auto">
            <a:xfrm>
              <a:off x="6589713" y="3621091"/>
              <a:ext cx="2020888" cy="458787"/>
            </a:xfrm>
            <a:custGeom>
              <a:avLst/>
              <a:gdLst>
                <a:gd name="T0" fmla="*/ 65 w 539"/>
                <a:gd name="T1" fmla="*/ 47 h 122"/>
                <a:gd name="T2" fmla="*/ 54 w 539"/>
                <a:gd name="T3" fmla="*/ 47 h 122"/>
                <a:gd name="T4" fmla="*/ 33 w 539"/>
                <a:gd name="T5" fmla="*/ 86 h 122"/>
                <a:gd name="T6" fmla="*/ 81 w 539"/>
                <a:gd name="T7" fmla="*/ 31 h 122"/>
                <a:gd name="T8" fmla="*/ 90 w 539"/>
                <a:gd name="T9" fmla="*/ 41 h 122"/>
                <a:gd name="T10" fmla="*/ 106 w 539"/>
                <a:gd name="T11" fmla="*/ 95 h 122"/>
                <a:gd name="T12" fmla="*/ 90 w 539"/>
                <a:gd name="T13" fmla="*/ 122 h 122"/>
                <a:gd name="T14" fmla="*/ 119 w 539"/>
                <a:gd name="T15" fmla="*/ 59 h 122"/>
                <a:gd name="T16" fmla="*/ 105 w 539"/>
                <a:gd name="T17" fmla="*/ 86 h 122"/>
                <a:gd name="T18" fmla="*/ 171 w 539"/>
                <a:gd name="T19" fmla="*/ 95 h 122"/>
                <a:gd name="T20" fmla="*/ 187 w 539"/>
                <a:gd name="T21" fmla="*/ 52 h 122"/>
                <a:gd name="T22" fmla="*/ 149 w 539"/>
                <a:gd name="T23" fmla="*/ 59 h 122"/>
                <a:gd name="T24" fmla="*/ 185 w 539"/>
                <a:gd name="T25" fmla="*/ 94 h 122"/>
                <a:gd name="T26" fmla="*/ 164 w 539"/>
                <a:gd name="T27" fmla="*/ 36 h 122"/>
                <a:gd name="T28" fmla="*/ 176 w 539"/>
                <a:gd name="T29" fmla="*/ 49 h 122"/>
                <a:gd name="T30" fmla="*/ 211 w 539"/>
                <a:gd name="T31" fmla="*/ 31 h 122"/>
                <a:gd name="T32" fmla="*/ 232 w 539"/>
                <a:gd name="T33" fmla="*/ 29 h 122"/>
                <a:gd name="T34" fmla="*/ 211 w 539"/>
                <a:gd name="T35" fmla="*/ 94 h 122"/>
                <a:gd name="T36" fmla="*/ 273 w 539"/>
                <a:gd name="T37" fmla="*/ 94 h 122"/>
                <a:gd name="T38" fmla="*/ 254 w 539"/>
                <a:gd name="T39" fmla="*/ 95 h 122"/>
                <a:gd name="T40" fmla="*/ 273 w 539"/>
                <a:gd name="T41" fmla="*/ 56 h 122"/>
                <a:gd name="T42" fmla="*/ 239 w 539"/>
                <a:gd name="T43" fmla="*/ 47 h 122"/>
                <a:gd name="T44" fmla="*/ 282 w 539"/>
                <a:gd name="T45" fmla="*/ 94 h 122"/>
                <a:gd name="T46" fmla="*/ 268 w 539"/>
                <a:gd name="T47" fmla="*/ 65 h 122"/>
                <a:gd name="T48" fmla="*/ 272 w 539"/>
                <a:gd name="T49" fmla="*/ 77 h 122"/>
                <a:gd name="T50" fmla="*/ 268 w 539"/>
                <a:gd name="T51" fmla="*/ 65 h 122"/>
                <a:gd name="T52" fmla="*/ 308 w 539"/>
                <a:gd name="T53" fmla="*/ 79 h 122"/>
                <a:gd name="T54" fmla="*/ 297 w 539"/>
                <a:gd name="T55" fmla="*/ 31 h 122"/>
                <a:gd name="T56" fmla="*/ 317 w 539"/>
                <a:gd name="T57" fmla="*/ 9 h 122"/>
                <a:gd name="T58" fmla="*/ 333 w 539"/>
                <a:gd name="T59" fmla="*/ 38 h 122"/>
                <a:gd name="T60" fmla="*/ 326 w 539"/>
                <a:gd name="T61" fmla="*/ 86 h 122"/>
                <a:gd name="T62" fmla="*/ 333 w 539"/>
                <a:gd name="T63" fmla="*/ 94 h 122"/>
                <a:gd name="T64" fmla="*/ 356 w 539"/>
                <a:gd name="T65" fmla="*/ 2 h 122"/>
                <a:gd name="T66" fmla="*/ 345 w 539"/>
                <a:gd name="T67" fmla="*/ 13 h 122"/>
                <a:gd name="T68" fmla="*/ 354 w 539"/>
                <a:gd name="T69" fmla="*/ 31 h 122"/>
                <a:gd name="T70" fmla="*/ 345 w 539"/>
                <a:gd name="T71" fmla="*/ 94 h 122"/>
                <a:gd name="T72" fmla="*/ 423 w 539"/>
                <a:gd name="T73" fmla="*/ 61 h 122"/>
                <a:gd name="T74" fmla="*/ 414 w 539"/>
                <a:gd name="T75" fmla="*/ 61 h 122"/>
                <a:gd name="T76" fmla="*/ 397 w 539"/>
                <a:gd name="T77" fmla="*/ 86 h 122"/>
                <a:gd name="T78" fmla="*/ 475 w 539"/>
                <a:gd name="T79" fmla="*/ 58 h 122"/>
                <a:gd name="T80" fmla="*/ 448 w 539"/>
                <a:gd name="T81" fmla="*/ 94 h 122"/>
                <a:gd name="T82" fmla="*/ 448 w 539"/>
                <a:gd name="T83" fmla="*/ 31 h 122"/>
                <a:gd name="T84" fmla="*/ 467 w 539"/>
                <a:gd name="T85" fmla="*/ 29 h 122"/>
                <a:gd name="T86" fmla="*/ 475 w 539"/>
                <a:gd name="T87" fmla="*/ 94 h 122"/>
                <a:gd name="T88" fmla="*/ 514 w 539"/>
                <a:gd name="T89" fmla="*/ 86 h 122"/>
                <a:gd name="T90" fmla="*/ 512 w 539"/>
                <a:gd name="T91" fmla="*/ 63 h 122"/>
                <a:gd name="T92" fmla="*/ 536 w 539"/>
                <a:gd name="T93" fmla="*/ 31 h 122"/>
                <a:gd name="T94" fmla="*/ 507 w 539"/>
                <a:gd name="T95" fmla="*/ 45 h 122"/>
                <a:gd name="T96" fmla="*/ 539 w 539"/>
                <a:gd name="T97" fmla="*/ 76 h 122"/>
                <a:gd name="T98" fmla="*/ 498 w 539"/>
                <a:gd name="T99" fmla="*/ 8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9" h="122">
                  <a:moveTo>
                    <a:pt x="0" y="47"/>
                  </a:moveTo>
                  <a:cubicBezTo>
                    <a:pt x="0" y="25"/>
                    <a:pt x="6" y="0"/>
                    <a:pt x="33" y="0"/>
                  </a:cubicBezTo>
                  <a:cubicBezTo>
                    <a:pt x="60" y="0"/>
                    <a:pt x="65" y="25"/>
                    <a:pt x="65" y="47"/>
                  </a:cubicBezTo>
                  <a:cubicBezTo>
                    <a:pt x="65" y="68"/>
                    <a:pt x="60" y="95"/>
                    <a:pt x="33" y="95"/>
                  </a:cubicBezTo>
                  <a:cubicBezTo>
                    <a:pt x="6" y="95"/>
                    <a:pt x="0" y="68"/>
                    <a:pt x="0" y="47"/>
                  </a:cubicBezTo>
                  <a:close/>
                  <a:moveTo>
                    <a:pt x="54" y="47"/>
                  </a:moveTo>
                  <a:cubicBezTo>
                    <a:pt x="54" y="32"/>
                    <a:pt x="52" y="9"/>
                    <a:pt x="33" y="9"/>
                  </a:cubicBezTo>
                  <a:cubicBezTo>
                    <a:pt x="13" y="9"/>
                    <a:pt x="11" y="32"/>
                    <a:pt x="11" y="47"/>
                  </a:cubicBezTo>
                  <a:cubicBezTo>
                    <a:pt x="11" y="61"/>
                    <a:pt x="13" y="86"/>
                    <a:pt x="33" y="86"/>
                  </a:cubicBezTo>
                  <a:cubicBezTo>
                    <a:pt x="52" y="86"/>
                    <a:pt x="54" y="61"/>
                    <a:pt x="54" y="47"/>
                  </a:cubicBezTo>
                  <a:close/>
                  <a:moveTo>
                    <a:pt x="81" y="122"/>
                  </a:moveTo>
                  <a:cubicBezTo>
                    <a:pt x="81" y="31"/>
                    <a:pt x="81" y="31"/>
                    <a:pt x="81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2" y="32"/>
                    <a:pt x="99" y="29"/>
                    <a:pt x="106" y="29"/>
                  </a:cubicBezTo>
                  <a:cubicBezTo>
                    <a:pt x="126" y="29"/>
                    <a:pt x="128" y="47"/>
                    <a:pt x="128" y="61"/>
                  </a:cubicBezTo>
                  <a:cubicBezTo>
                    <a:pt x="128" y="76"/>
                    <a:pt x="124" y="95"/>
                    <a:pt x="106" y="95"/>
                  </a:cubicBezTo>
                  <a:cubicBezTo>
                    <a:pt x="99" y="95"/>
                    <a:pt x="94" y="90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81" y="122"/>
                    <a:pt x="81" y="122"/>
                    <a:pt x="81" y="122"/>
                  </a:cubicBezTo>
                  <a:cubicBezTo>
                    <a:pt x="81" y="122"/>
                    <a:pt x="81" y="122"/>
                    <a:pt x="81" y="122"/>
                  </a:cubicBezTo>
                  <a:close/>
                  <a:moveTo>
                    <a:pt x="119" y="59"/>
                  </a:moveTo>
                  <a:cubicBezTo>
                    <a:pt x="119" y="50"/>
                    <a:pt x="117" y="36"/>
                    <a:pt x="105" y="36"/>
                  </a:cubicBezTo>
                  <a:cubicBezTo>
                    <a:pt x="94" y="36"/>
                    <a:pt x="90" y="52"/>
                    <a:pt x="90" y="61"/>
                  </a:cubicBezTo>
                  <a:cubicBezTo>
                    <a:pt x="90" y="70"/>
                    <a:pt x="94" y="86"/>
                    <a:pt x="105" y="86"/>
                  </a:cubicBezTo>
                  <a:cubicBezTo>
                    <a:pt x="117" y="86"/>
                    <a:pt x="119" y="68"/>
                    <a:pt x="119" y="59"/>
                  </a:cubicBezTo>
                  <a:close/>
                  <a:moveTo>
                    <a:pt x="185" y="94"/>
                  </a:moveTo>
                  <a:cubicBezTo>
                    <a:pt x="180" y="94"/>
                    <a:pt x="175" y="95"/>
                    <a:pt x="171" y="95"/>
                  </a:cubicBezTo>
                  <a:cubicBezTo>
                    <a:pt x="148" y="95"/>
                    <a:pt x="140" y="81"/>
                    <a:pt x="140" y="59"/>
                  </a:cubicBezTo>
                  <a:cubicBezTo>
                    <a:pt x="140" y="43"/>
                    <a:pt x="146" y="29"/>
                    <a:pt x="164" y="29"/>
                  </a:cubicBezTo>
                  <a:cubicBezTo>
                    <a:pt x="178" y="29"/>
                    <a:pt x="187" y="38"/>
                    <a:pt x="187" y="52"/>
                  </a:cubicBezTo>
                  <a:cubicBezTo>
                    <a:pt x="187" y="56"/>
                    <a:pt x="187" y="56"/>
                    <a:pt x="187" y="56"/>
                  </a:cubicBezTo>
                  <a:cubicBezTo>
                    <a:pt x="149" y="56"/>
                    <a:pt x="149" y="56"/>
                    <a:pt x="149" y="56"/>
                  </a:cubicBezTo>
                  <a:cubicBezTo>
                    <a:pt x="149" y="59"/>
                    <a:pt x="149" y="59"/>
                    <a:pt x="149" y="59"/>
                  </a:cubicBezTo>
                  <a:cubicBezTo>
                    <a:pt x="149" y="74"/>
                    <a:pt x="157" y="86"/>
                    <a:pt x="173" y="86"/>
                  </a:cubicBezTo>
                  <a:cubicBezTo>
                    <a:pt x="176" y="86"/>
                    <a:pt x="180" y="86"/>
                    <a:pt x="185" y="85"/>
                  </a:cubicBezTo>
                  <a:cubicBezTo>
                    <a:pt x="185" y="94"/>
                    <a:pt x="185" y="94"/>
                    <a:pt x="185" y="94"/>
                  </a:cubicBezTo>
                  <a:cubicBezTo>
                    <a:pt x="185" y="94"/>
                    <a:pt x="185" y="94"/>
                    <a:pt x="185" y="94"/>
                  </a:cubicBezTo>
                  <a:close/>
                  <a:moveTo>
                    <a:pt x="176" y="49"/>
                  </a:moveTo>
                  <a:cubicBezTo>
                    <a:pt x="176" y="41"/>
                    <a:pt x="171" y="36"/>
                    <a:pt x="164" y="36"/>
                  </a:cubicBezTo>
                  <a:cubicBezTo>
                    <a:pt x="157" y="36"/>
                    <a:pt x="151" y="41"/>
                    <a:pt x="151" y="49"/>
                  </a:cubicBezTo>
                  <a:cubicBezTo>
                    <a:pt x="176" y="49"/>
                    <a:pt x="176" y="49"/>
                    <a:pt x="176" y="49"/>
                  </a:cubicBezTo>
                  <a:cubicBezTo>
                    <a:pt x="176" y="49"/>
                    <a:pt x="176" y="49"/>
                    <a:pt x="176" y="49"/>
                  </a:cubicBezTo>
                  <a:close/>
                  <a:moveTo>
                    <a:pt x="202" y="94"/>
                  </a:moveTo>
                  <a:cubicBezTo>
                    <a:pt x="202" y="31"/>
                    <a:pt x="202" y="31"/>
                    <a:pt x="202" y="31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4" y="32"/>
                    <a:pt x="221" y="29"/>
                    <a:pt x="232" y="29"/>
                  </a:cubicBezTo>
                  <a:cubicBezTo>
                    <a:pt x="232" y="38"/>
                    <a:pt x="232" y="38"/>
                    <a:pt x="232" y="38"/>
                  </a:cubicBezTo>
                  <a:cubicBezTo>
                    <a:pt x="216" y="38"/>
                    <a:pt x="211" y="54"/>
                    <a:pt x="211" y="67"/>
                  </a:cubicBezTo>
                  <a:cubicBezTo>
                    <a:pt x="211" y="94"/>
                    <a:pt x="211" y="94"/>
                    <a:pt x="211" y="94"/>
                  </a:cubicBezTo>
                  <a:cubicBezTo>
                    <a:pt x="202" y="94"/>
                    <a:pt x="202" y="94"/>
                    <a:pt x="202" y="94"/>
                  </a:cubicBezTo>
                  <a:cubicBezTo>
                    <a:pt x="202" y="94"/>
                    <a:pt x="202" y="94"/>
                    <a:pt x="202" y="94"/>
                  </a:cubicBezTo>
                  <a:close/>
                  <a:moveTo>
                    <a:pt x="273" y="94"/>
                  </a:moveTo>
                  <a:cubicBezTo>
                    <a:pt x="273" y="85"/>
                    <a:pt x="273" y="85"/>
                    <a:pt x="273" y="85"/>
                  </a:cubicBezTo>
                  <a:cubicBezTo>
                    <a:pt x="273" y="85"/>
                    <a:pt x="273" y="85"/>
                    <a:pt x="273" y="85"/>
                  </a:cubicBezTo>
                  <a:cubicBezTo>
                    <a:pt x="270" y="92"/>
                    <a:pt x="261" y="95"/>
                    <a:pt x="254" y="95"/>
                  </a:cubicBezTo>
                  <a:cubicBezTo>
                    <a:pt x="243" y="95"/>
                    <a:pt x="238" y="88"/>
                    <a:pt x="238" y="77"/>
                  </a:cubicBezTo>
                  <a:cubicBezTo>
                    <a:pt x="238" y="63"/>
                    <a:pt x="254" y="58"/>
                    <a:pt x="273" y="58"/>
                  </a:cubicBezTo>
                  <a:cubicBezTo>
                    <a:pt x="273" y="56"/>
                    <a:pt x="273" y="56"/>
                    <a:pt x="273" y="56"/>
                  </a:cubicBezTo>
                  <a:cubicBezTo>
                    <a:pt x="273" y="47"/>
                    <a:pt x="273" y="36"/>
                    <a:pt x="261" y="36"/>
                  </a:cubicBezTo>
                  <a:cubicBezTo>
                    <a:pt x="254" y="36"/>
                    <a:pt x="250" y="38"/>
                    <a:pt x="248" y="47"/>
                  </a:cubicBezTo>
                  <a:cubicBezTo>
                    <a:pt x="239" y="47"/>
                    <a:pt x="239" y="47"/>
                    <a:pt x="239" y="47"/>
                  </a:cubicBezTo>
                  <a:cubicBezTo>
                    <a:pt x="239" y="34"/>
                    <a:pt x="250" y="29"/>
                    <a:pt x="261" y="29"/>
                  </a:cubicBezTo>
                  <a:cubicBezTo>
                    <a:pt x="275" y="29"/>
                    <a:pt x="282" y="34"/>
                    <a:pt x="282" y="49"/>
                  </a:cubicBezTo>
                  <a:cubicBezTo>
                    <a:pt x="282" y="94"/>
                    <a:pt x="282" y="94"/>
                    <a:pt x="282" y="94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lose/>
                  <a:moveTo>
                    <a:pt x="268" y="65"/>
                  </a:moveTo>
                  <a:cubicBezTo>
                    <a:pt x="261" y="65"/>
                    <a:pt x="248" y="68"/>
                    <a:pt x="248" y="77"/>
                  </a:cubicBezTo>
                  <a:cubicBezTo>
                    <a:pt x="248" y="83"/>
                    <a:pt x="252" y="86"/>
                    <a:pt x="255" y="86"/>
                  </a:cubicBezTo>
                  <a:cubicBezTo>
                    <a:pt x="263" y="86"/>
                    <a:pt x="268" y="83"/>
                    <a:pt x="272" y="77"/>
                  </a:cubicBezTo>
                  <a:cubicBezTo>
                    <a:pt x="273" y="72"/>
                    <a:pt x="273" y="70"/>
                    <a:pt x="273" y="65"/>
                  </a:cubicBezTo>
                  <a:cubicBezTo>
                    <a:pt x="268" y="65"/>
                    <a:pt x="268" y="65"/>
                    <a:pt x="268" y="65"/>
                  </a:cubicBezTo>
                  <a:cubicBezTo>
                    <a:pt x="268" y="65"/>
                    <a:pt x="268" y="65"/>
                    <a:pt x="268" y="65"/>
                  </a:cubicBezTo>
                  <a:close/>
                  <a:moveTo>
                    <a:pt x="333" y="94"/>
                  </a:moveTo>
                  <a:cubicBezTo>
                    <a:pt x="329" y="95"/>
                    <a:pt x="327" y="95"/>
                    <a:pt x="324" y="95"/>
                  </a:cubicBezTo>
                  <a:cubicBezTo>
                    <a:pt x="313" y="95"/>
                    <a:pt x="308" y="90"/>
                    <a:pt x="308" y="79"/>
                  </a:cubicBezTo>
                  <a:cubicBezTo>
                    <a:pt x="308" y="38"/>
                    <a:pt x="308" y="38"/>
                    <a:pt x="308" y="38"/>
                  </a:cubicBezTo>
                  <a:cubicBezTo>
                    <a:pt x="297" y="38"/>
                    <a:pt x="297" y="38"/>
                    <a:pt x="297" y="38"/>
                  </a:cubicBezTo>
                  <a:cubicBezTo>
                    <a:pt x="297" y="31"/>
                    <a:pt x="297" y="31"/>
                    <a:pt x="297" y="31"/>
                  </a:cubicBezTo>
                  <a:cubicBezTo>
                    <a:pt x="308" y="31"/>
                    <a:pt x="308" y="31"/>
                    <a:pt x="308" y="31"/>
                  </a:cubicBezTo>
                  <a:cubicBezTo>
                    <a:pt x="308" y="14"/>
                    <a:pt x="308" y="14"/>
                    <a:pt x="308" y="14"/>
                  </a:cubicBezTo>
                  <a:cubicBezTo>
                    <a:pt x="317" y="9"/>
                    <a:pt x="317" y="9"/>
                    <a:pt x="317" y="9"/>
                  </a:cubicBezTo>
                  <a:cubicBezTo>
                    <a:pt x="317" y="31"/>
                    <a:pt x="317" y="31"/>
                    <a:pt x="317" y="31"/>
                  </a:cubicBezTo>
                  <a:cubicBezTo>
                    <a:pt x="333" y="31"/>
                    <a:pt x="333" y="31"/>
                    <a:pt x="333" y="31"/>
                  </a:cubicBezTo>
                  <a:cubicBezTo>
                    <a:pt x="333" y="38"/>
                    <a:pt x="333" y="38"/>
                    <a:pt x="333" y="38"/>
                  </a:cubicBezTo>
                  <a:cubicBezTo>
                    <a:pt x="317" y="38"/>
                    <a:pt x="317" y="38"/>
                    <a:pt x="317" y="38"/>
                  </a:cubicBezTo>
                  <a:cubicBezTo>
                    <a:pt x="317" y="77"/>
                    <a:pt x="317" y="77"/>
                    <a:pt x="317" y="77"/>
                  </a:cubicBezTo>
                  <a:cubicBezTo>
                    <a:pt x="317" y="83"/>
                    <a:pt x="318" y="86"/>
                    <a:pt x="326" y="86"/>
                  </a:cubicBezTo>
                  <a:cubicBezTo>
                    <a:pt x="329" y="86"/>
                    <a:pt x="329" y="86"/>
                    <a:pt x="333" y="86"/>
                  </a:cubicBezTo>
                  <a:cubicBezTo>
                    <a:pt x="333" y="94"/>
                    <a:pt x="333" y="94"/>
                    <a:pt x="333" y="94"/>
                  </a:cubicBezTo>
                  <a:cubicBezTo>
                    <a:pt x="333" y="94"/>
                    <a:pt x="333" y="94"/>
                    <a:pt x="333" y="94"/>
                  </a:cubicBezTo>
                  <a:close/>
                  <a:moveTo>
                    <a:pt x="345" y="13"/>
                  </a:moveTo>
                  <a:cubicBezTo>
                    <a:pt x="345" y="2"/>
                    <a:pt x="345" y="2"/>
                    <a:pt x="345" y="2"/>
                  </a:cubicBezTo>
                  <a:cubicBezTo>
                    <a:pt x="356" y="2"/>
                    <a:pt x="356" y="2"/>
                    <a:pt x="356" y="2"/>
                  </a:cubicBezTo>
                  <a:cubicBezTo>
                    <a:pt x="356" y="13"/>
                    <a:pt x="356" y="13"/>
                    <a:pt x="356" y="13"/>
                  </a:cubicBezTo>
                  <a:cubicBezTo>
                    <a:pt x="345" y="13"/>
                    <a:pt x="345" y="13"/>
                    <a:pt x="345" y="13"/>
                  </a:cubicBezTo>
                  <a:cubicBezTo>
                    <a:pt x="345" y="13"/>
                    <a:pt x="345" y="13"/>
                    <a:pt x="345" y="13"/>
                  </a:cubicBezTo>
                  <a:close/>
                  <a:moveTo>
                    <a:pt x="345" y="94"/>
                  </a:moveTo>
                  <a:cubicBezTo>
                    <a:pt x="345" y="31"/>
                    <a:pt x="345" y="31"/>
                    <a:pt x="345" y="31"/>
                  </a:cubicBezTo>
                  <a:cubicBezTo>
                    <a:pt x="354" y="31"/>
                    <a:pt x="354" y="31"/>
                    <a:pt x="354" y="31"/>
                  </a:cubicBezTo>
                  <a:cubicBezTo>
                    <a:pt x="354" y="94"/>
                    <a:pt x="354" y="94"/>
                    <a:pt x="354" y="94"/>
                  </a:cubicBezTo>
                  <a:cubicBezTo>
                    <a:pt x="345" y="94"/>
                    <a:pt x="345" y="94"/>
                    <a:pt x="345" y="94"/>
                  </a:cubicBezTo>
                  <a:cubicBezTo>
                    <a:pt x="345" y="94"/>
                    <a:pt x="345" y="94"/>
                    <a:pt x="345" y="94"/>
                  </a:cubicBezTo>
                  <a:close/>
                  <a:moveTo>
                    <a:pt x="372" y="61"/>
                  </a:moveTo>
                  <a:cubicBezTo>
                    <a:pt x="372" y="45"/>
                    <a:pt x="378" y="29"/>
                    <a:pt x="397" y="29"/>
                  </a:cubicBezTo>
                  <a:cubicBezTo>
                    <a:pt x="417" y="29"/>
                    <a:pt x="423" y="45"/>
                    <a:pt x="423" y="61"/>
                  </a:cubicBezTo>
                  <a:cubicBezTo>
                    <a:pt x="423" y="79"/>
                    <a:pt x="417" y="95"/>
                    <a:pt x="397" y="95"/>
                  </a:cubicBezTo>
                  <a:cubicBezTo>
                    <a:pt x="378" y="95"/>
                    <a:pt x="372" y="79"/>
                    <a:pt x="372" y="61"/>
                  </a:cubicBezTo>
                  <a:close/>
                  <a:moveTo>
                    <a:pt x="414" y="61"/>
                  </a:moveTo>
                  <a:cubicBezTo>
                    <a:pt x="414" y="52"/>
                    <a:pt x="410" y="36"/>
                    <a:pt x="397" y="36"/>
                  </a:cubicBezTo>
                  <a:cubicBezTo>
                    <a:pt x="385" y="36"/>
                    <a:pt x="381" y="52"/>
                    <a:pt x="381" y="61"/>
                  </a:cubicBezTo>
                  <a:cubicBezTo>
                    <a:pt x="381" y="72"/>
                    <a:pt x="385" y="86"/>
                    <a:pt x="397" y="86"/>
                  </a:cubicBezTo>
                  <a:cubicBezTo>
                    <a:pt x="410" y="86"/>
                    <a:pt x="414" y="72"/>
                    <a:pt x="414" y="61"/>
                  </a:cubicBezTo>
                  <a:close/>
                  <a:moveTo>
                    <a:pt x="475" y="94"/>
                  </a:moveTo>
                  <a:cubicBezTo>
                    <a:pt x="475" y="58"/>
                    <a:pt x="475" y="58"/>
                    <a:pt x="475" y="58"/>
                  </a:cubicBezTo>
                  <a:cubicBezTo>
                    <a:pt x="475" y="50"/>
                    <a:pt x="476" y="38"/>
                    <a:pt x="466" y="38"/>
                  </a:cubicBezTo>
                  <a:cubicBezTo>
                    <a:pt x="453" y="38"/>
                    <a:pt x="448" y="58"/>
                    <a:pt x="448" y="67"/>
                  </a:cubicBezTo>
                  <a:cubicBezTo>
                    <a:pt x="448" y="94"/>
                    <a:pt x="448" y="94"/>
                    <a:pt x="448" y="94"/>
                  </a:cubicBezTo>
                  <a:cubicBezTo>
                    <a:pt x="439" y="94"/>
                    <a:pt x="439" y="94"/>
                    <a:pt x="439" y="94"/>
                  </a:cubicBezTo>
                  <a:cubicBezTo>
                    <a:pt x="439" y="31"/>
                    <a:pt x="439" y="31"/>
                    <a:pt x="439" y="31"/>
                  </a:cubicBezTo>
                  <a:cubicBezTo>
                    <a:pt x="448" y="31"/>
                    <a:pt x="448" y="31"/>
                    <a:pt x="448" y="31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51" y="34"/>
                    <a:pt x="457" y="29"/>
                    <a:pt x="467" y="29"/>
                  </a:cubicBezTo>
                  <a:cubicBezTo>
                    <a:pt x="478" y="29"/>
                    <a:pt x="484" y="38"/>
                    <a:pt x="484" y="49"/>
                  </a:cubicBezTo>
                  <a:cubicBezTo>
                    <a:pt x="484" y="94"/>
                    <a:pt x="484" y="94"/>
                    <a:pt x="484" y="94"/>
                  </a:cubicBezTo>
                  <a:cubicBezTo>
                    <a:pt x="475" y="94"/>
                    <a:pt x="475" y="94"/>
                    <a:pt x="475" y="94"/>
                  </a:cubicBezTo>
                  <a:cubicBezTo>
                    <a:pt x="475" y="94"/>
                    <a:pt x="475" y="94"/>
                    <a:pt x="475" y="94"/>
                  </a:cubicBezTo>
                  <a:close/>
                  <a:moveTo>
                    <a:pt x="498" y="85"/>
                  </a:moveTo>
                  <a:cubicBezTo>
                    <a:pt x="503" y="86"/>
                    <a:pt x="509" y="86"/>
                    <a:pt x="514" y="86"/>
                  </a:cubicBezTo>
                  <a:cubicBezTo>
                    <a:pt x="521" y="86"/>
                    <a:pt x="530" y="85"/>
                    <a:pt x="530" y="77"/>
                  </a:cubicBezTo>
                  <a:cubicBezTo>
                    <a:pt x="530" y="70"/>
                    <a:pt x="523" y="68"/>
                    <a:pt x="518" y="65"/>
                  </a:cubicBezTo>
                  <a:cubicBezTo>
                    <a:pt x="512" y="63"/>
                    <a:pt x="512" y="63"/>
                    <a:pt x="512" y="63"/>
                  </a:cubicBezTo>
                  <a:cubicBezTo>
                    <a:pt x="505" y="59"/>
                    <a:pt x="498" y="56"/>
                    <a:pt x="498" y="45"/>
                  </a:cubicBezTo>
                  <a:cubicBezTo>
                    <a:pt x="498" y="32"/>
                    <a:pt x="509" y="29"/>
                    <a:pt x="520" y="29"/>
                  </a:cubicBezTo>
                  <a:cubicBezTo>
                    <a:pt x="525" y="29"/>
                    <a:pt x="530" y="29"/>
                    <a:pt x="536" y="31"/>
                  </a:cubicBezTo>
                  <a:cubicBezTo>
                    <a:pt x="536" y="40"/>
                    <a:pt x="536" y="40"/>
                    <a:pt x="536" y="40"/>
                  </a:cubicBezTo>
                  <a:cubicBezTo>
                    <a:pt x="530" y="38"/>
                    <a:pt x="525" y="36"/>
                    <a:pt x="520" y="36"/>
                  </a:cubicBezTo>
                  <a:cubicBezTo>
                    <a:pt x="516" y="36"/>
                    <a:pt x="507" y="38"/>
                    <a:pt x="507" y="45"/>
                  </a:cubicBezTo>
                  <a:cubicBezTo>
                    <a:pt x="507" y="50"/>
                    <a:pt x="514" y="52"/>
                    <a:pt x="520" y="54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32" y="63"/>
                    <a:pt x="539" y="65"/>
                    <a:pt x="539" y="76"/>
                  </a:cubicBezTo>
                  <a:cubicBezTo>
                    <a:pt x="539" y="90"/>
                    <a:pt x="529" y="95"/>
                    <a:pt x="516" y="95"/>
                  </a:cubicBezTo>
                  <a:cubicBezTo>
                    <a:pt x="509" y="95"/>
                    <a:pt x="503" y="94"/>
                    <a:pt x="498" y="92"/>
                  </a:cubicBezTo>
                  <a:cubicBezTo>
                    <a:pt x="498" y="85"/>
                    <a:pt x="498" y="85"/>
                    <a:pt x="498" y="85"/>
                  </a:cubicBezTo>
                  <a:cubicBezTo>
                    <a:pt x="498" y="85"/>
                    <a:pt x="498" y="85"/>
                    <a:pt x="498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38" name="Group 37"/>
          <p:cNvGrpSpPr/>
          <p:nvPr userDrawn="1"/>
        </p:nvGrpSpPr>
        <p:grpSpPr>
          <a:xfrm>
            <a:off x="462100" y="4374854"/>
            <a:ext cx="3920730" cy="550287"/>
            <a:chOff x="1681163" y="2122488"/>
            <a:chExt cx="2740025" cy="512762"/>
          </a:xfrm>
        </p:grpSpPr>
        <p:sp>
          <p:nvSpPr>
            <p:cNvPr id="39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1684338" y="2125663"/>
              <a:ext cx="2733675" cy="506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40" name="Group 39"/>
            <p:cNvGrpSpPr/>
            <p:nvPr userDrawn="1"/>
          </p:nvGrpSpPr>
          <p:grpSpPr>
            <a:xfrm>
              <a:off x="3233738" y="2293938"/>
              <a:ext cx="1187450" cy="341312"/>
              <a:chOff x="3233738" y="2293938"/>
              <a:chExt cx="1187450" cy="341312"/>
            </a:xfrm>
            <a:solidFill>
              <a:srgbClr val="FF0000"/>
            </a:solidFill>
          </p:grpSpPr>
          <p:sp>
            <p:nvSpPr>
              <p:cNvPr id="43" name="Freeform 6"/>
              <p:cNvSpPr>
                <a:spLocks/>
              </p:cNvSpPr>
              <p:nvPr userDrawn="1"/>
            </p:nvSpPr>
            <p:spPr bwMode="auto">
              <a:xfrm>
                <a:off x="3233738" y="2351088"/>
                <a:ext cx="127000" cy="206375"/>
              </a:xfrm>
              <a:custGeom>
                <a:avLst/>
                <a:gdLst>
                  <a:gd name="T0" fmla="*/ 0 w 34"/>
                  <a:gd name="T1" fmla="*/ 47 h 55"/>
                  <a:gd name="T2" fmla="*/ 14 w 34"/>
                  <a:gd name="T3" fmla="*/ 50 h 55"/>
                  <a:gd name="T4" fmla="*/ 27 w 34"/>
                  <a:gd name="T5" fmla="*/ 40 h 55"/>
                  <a:gd name="T6" fmla="*/ 0 w 34"/>
                  <a:gd name="T7" fmla="*/ 14 h 55"/>
                  <a:gd name="T8" fmla="*/ 18 w 34"/>
                  <a:gd name="T9" fmla="*/ 0 h 55"/>
                  <a:gd name="T10" fmla="*/ 31 w 34"/>
                  <a:gd name="T11" fmla="*/ 2 h 55"/>
                  <a:gd name="T12" fmla="*/ 31 w 34"/>
                  <a:gd name="T13" fmla="*/ 7 h 55"/>
                  <a:gd name="T14" fmla="*/ 18 w 34"/>
                  <a:gd name="T15" fmla="*/ 5 h 55"/>
                  <a:gd name="T16" fmla="*/ 7 w 34"/>
                  <a:gd name="T17" fmla="*/ 13 h 55"/>
                  <a:gd name="T18" fmla="*/ 17 w 34"/>
                  <a:gd name="T19" fmla="*/ 22 h 55"/>
                  <a:gd name="T20" fmla="*/ 22 w 34"/>
                  <a:gd name="T21" fmla="*/ 24 h 55"/>
                  <a:gd name="T22" fmla="*/ 34 w 34"/>
                  <a:gd name="T23" fmla="*/ 39 h 55"/>
                  <a:gd name="T24" fmla="*/ 14 w 34"/>
                  <a:gd name="T25" fmla="*/ 55 h 55"/>
                  <a:gd name="T26" fmla="*/ 0 w 34"/>
                  <a:gd name="T27" fmla="*/ 53 h 55"/>
                  <a:gd name="T28" fmla="*/ 0 w 34"/>
                  <a:gd name="T29" fmla="*/ 4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55">
                    <a:moveTo>
                      <a:pt x="0" y="47"/>
                    </a:moveTo>
                    <a:cubicBezTo>
                      <a:pt x="4" y="48"/>
                      <a:pt x="9" y="50"/>
                      <a:pt x="14" y="50"/>
                    </a:cubicBezTo>
                    <a:cubicBezTo>
                      <a:pt x="21" y="50"/>
                      <a:pt x="27" y="47"/>
                      <a:pt x="27" y="40"/>
                    </a:cubicBezTo>
                    <a:cubicBezTo>
                      <a:pt x="27" y="27"/>
                      <a:pt x="0" y="29"/>
                      <a:pt x="0" y="14"/>
                    </a:cubicBezTo>
                    <a:cubicBezTo>
                      <a:pt x="0" y="3"/>
                      <a:pt x="8" y="0"/>
                      <a:pt x="18" y="0"/>
                    </a:cubicBezTo>
                    <a:cubicBezTo>
                      <a:pt x="22" y="0"/>
                      <a:pt x="26" y="1"/>
                      <a:pt x="31" y="2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7" y="6"/>
                      <a:pt x="22" y="5"/>
                      <a:pt x="18" y="5"/>
                    </a:cubicBezTo>
                    <a:cubicBezTo>
                      <a:pt x="14" y="5"/>
                      <a:pt x="7" y="7"/>
                      <a:pt x="7" y="13"/>
                    </a:cubicBezTo>
                    <a:cubicBezTo>
                      <a:pt x="7" y="18"/>
                      <a:pt x="13" y="20"/>
                      <a:pt x="17" y="22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8" y="28"/>
                      <a:pt x="34" y="30"/>
                      <a:pt x="34" y="39"/>
                    </a:cubicBezTo>
                    <a:cubicBezTo>
                      <a:pt x="34" y="51"/>
                      <a:pt x="24" y="55"/>
                      <a:pt x="14" y="55"/>
                    </a:cubicBezTo>
                    <a:cubicBezTo>
                      <a:pt x="10" y="55"/>
                      <a:pt x="4" y="54"/>
                      <a:pt x="0" y="53"/>
                    </a:cubicBezTo>
                    <a:lnTo>
                      <a:pt x="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" name="Freeform 7"/>
              <p:cNvSpPr>
                <a:spLocks/>
              </p:cNvSpPr>
              <p:nvPr userDrawn="1"/>
            </p:nvSpPr>
            <p:spPr bwMode="auto">
              <a:xfrm>
                <a:off x="3379788" y="2293938"/>
                <a:ext cx="104775" cy="263525"/>
              </a:xfrm>
              <a:custGeom>
                <a:avLst/>
                <a:gdLst>
                  <a:gd name="T0" fmla="*/ 28 w 28"/>
                  <a:gd name="T1" fmla="*/ 69 h 70"/>
                  <a:gd name="T2" fmla="*/ 22 w 28"/>
                  <a:gd name="T3" fmla="*/ 70 h 70"/>
                  <a:gd name="T4" fmla="*/ 8 w 28"/>
                  <a:gd name="T5" fmla="*/ 57 h 70"/>
                  <a:gd name="T6" fmla="*/ 8 w 28"/>
                  <a:gd name="T7" fmla="*/ 21 h 70"/>
                  <a:gd name="T8" fmla="*/ 0 w 28"/>
                  <a:gd name="T9" fmla="*/ 21 h 70"/>
                  <a:gd name="T10" fmla="*/ 0 w 28"/>
                  <a:gd name="T11" fmla="*/ 16 h 70"/>
                  <a:gd name="T12" fmla="*/ 8 w 28"/>
                  <a:gd name="T13" fmla="*/ 16 h 70"/>
                  <a:gd name="T14" fmla="*/ 8 w 28"/>
                  <a:gd name="T15" fmla="*/ 4 h 70"/>
                  <a:gd name="T16" fmla="*/ 14 w 28"/>
                  <a:gd name="T17" fmla="*/ 0 h 70"/>
                  <a:gd name="T18" fmla="*/ 14 w 28"/>
                  <a:gd name="T19" fmla="*/ 16 h 70"/>
                  <a:gd name="T20" fmla="*/ 28 w 28"/>
                  <a:gd name="T21" fmla="*/ 16 h 70"/>
                  <a:gd name="T22" fmla="*/ 28 w 28"/>
                  <a:gd name="T23" fmla="*/ 21 h 70"/>
                  <a:gd name="T24" fmla="*/ 14 w 28"/>
                  <a:gd name="T25" fmla="*/ 21 h 70"/>
                  <a:gd name="T26" fmla="*/ 14 w 28"/>
                  <a:gd name="T27" fmla="*/ 55 h 70"/>
                  <a:gd name="T28" fmla="*/ 23 w 28"/>
                  <a:gd name="T29" fmla="*/ 65 h 70"/>
                  <a:gd name="T30" fmla="*/ 28 w 28"/>
                  <a:gd name="T31" fmla="*/ 64 h 70"/>
                  <a:gd name="T32" fmla="*/ 28 w 28"/>
                  <a:gd name="T33" fmla="*/ 6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70">
                    <a:moveTo>
                      <a:pt x="28" y="69"/>
                    </a:moveTo>
                    <a:cubicBezTo>
                      <a:pt x="26" y="70"/>
                      <a:pt x="24" y="70"/>
                      <a:pt x="22" y="70"/>
                    </a:cubicBezTo>
                    <a:cubicBezTo>
                      <a:pt x="13" y="70"/>
                      <a:pt x="8" y="66"/>
                      <a:pt x="8" y="57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61"/>
                      <a:pt x="16" y="65"/>
                      <a:pt x="23" y="65"/>
                    </a:cubicBezTo>
                    <a:cubicBezTo>
                      <a:pt x="25" y="65"/>
                      <a:pt x="26" y="64"/>
                      <a:pt x="28" y="64"/>
                    </a:cubicBezTo>
                    <a:lnTo>
                      <a:pt x="28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" name="Freeform 8"/>
              <p:cNvSpPr>
                <a:spLocks/>
              </p:cNvSpPr>
              <p:nvPr userDrawn="1"/>
            </p:nvSpPr>
            <p:spPr bwMode="auto">
              <a:xfrm>
                <a:off x="3509963" y="2351088"/>
                <a:ext cx="87313" cy="201612"/>
              </a:xfrm>
              <a:custGeom>
                <a:avLst/>
                <a:gdLst>
                  <a:gd name="T0" fmla="*/ 0 w 23"/>
                  <a:gd name="T1" fmla="*/ 54 h 54"/>
                  <a:gd name="T2" fmla="*/ 0 w 23"/>
                  <a:gd name="T3" fmla="*/ 1 h 54"/>
                  <a:gd name="T4" fmla="*/ 6 w 23"/>
                  <a:gd name="T5" fmla="*/ 1 h 54"/>
                  <a:gd name="T6" fmla="*/ 6 w 23"/>
                  <a:gd name="T7" fmla="*/ 12 h 54"/>
                  <a:gd name="T8" fmla="*/ 6 w 23"/>
                  <a:gd name="T9" fmla="*/ 12 h 54"/>
                  <a:gd name="T10" fmla="*/ 23 w 23"/>
                  <a:gd name="T11" fmla="*/ 0 h 54"/>
                  <a:gd name="T12" fmla="*/ 23 w 23"/>
                  <a:gd name="T13" fmla="*/ 6 h 54"/>
                  <a:gd name="T14" fmla="*/ 6 w 23"/>
                  <a:gd name="T15" fmla="*/ 32 h 54"/>
                  <a:gd name="T16" fmla="*/ 6 w 23"/>
                  <a:gd name="T17" fmla="*/ 54 h 54"/>
                  <a:gd name="T18" fmla="*/ 0 w 23"/>
                  <a:gd name="T1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9" y="4"/>
                      <a:pt x="15" y="0"/>
                      <a:pt x="23" y="0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9" y="6"/>
                      <a:pt x="6" y="22"/>
                      <a:pt x="6" y="32"/>
                    </a:cubicBezTo>
                    <a:cubicBezTo>
                      <a:pt x="6" y="54"/>
                      <a:pt x="6" y="54"/>
                      <a:pt x="6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Freeform 9"/>
              <p:cNvSpPr>
                <a:spLocks noEditPoints="1"/>
              </p:cNvSpPr>
              <p:nvPr userDrawn="1"/>
            </p:nvSpPr>
            <p:spPr bwMode="auto">
              <a:xfrm>
                <a:off x="3616326" y="2351088"/>
                <a:ext cx="134938" cy="206375"/>
              </a:xfrm>
              <a:custGeom>
                <a:avLst/>
                <a:gdLst>
                  <a:gd name="T0" fmla="*/ 30 w 36"/>
                  <a:gd name="T1" fmla="*/ 54 h 55"/>
                  <a:gd name="T2" fmla="*/ 30 w 36"/>
                  <a:gd name="T3" fmla="*/ 46 h 55"/>
                  <a:gd name="T4" fmla="*/ 30 w 36"/>
                  <a:gd name="T5" fmla="*/ 46 h 55"/>
                  <a:gd name="T6" fmla="*/ 14 w 36"/>
                  <a:gd name="T7" fmla="*/ 55 h 55"/>
                  <a:gd name="T8" fmla="*/ 0 w 36"/>
                  <a:gd name="T9" fmla="*/ 41 h 55"/>
                  <a:gd name="T10" fmla="*/ 30 w 36"/>
                  <a:gd name="T11" fmla="*/ 24 h 55"/>
                  <a:gd name="T12" fmla="*/ 19 w 36"/>
                  <a:gd name="T13" fmla="*/ 5 h 55"/>
                  <a:gd name="T14" fmla="*/ 8 w 36"/>
                  <a:gd name="T15" fmla="*/ 14 h 55"/>
                  <a:gd name="T16" fmla="*/ 1 w 36"/>
                  <a:gd name="T17" fmla="*/ 14 h 55"/>
                  <a:gd name="T18" fmla="*/ 19 w 36"/>
                  <a:gd name="T19" fmla="*/ 0 h 55"/>
                  <a:gd name="T20" fmla="*/ 36 w 36"/>
                  <a:gd name="T21" fmla="*/ 18 h 55"/>
                  <a:gd name="T22" fmla="*/ 36 w 36"/>
                  <a:gd name="T23" fmla="*/ 54 h 55"/>
                  <a:gd name="T24" fmla="*/ 30 w 36"/>
                  <a:gd name="T25" fmla="*/ 54 h 55"/>
                  <a:gd name="T26" fmla="*/ 25 w 36"/>
                  <a:gd name="T27" fmla="*/ 29 h 55"/>
                  <a:gd name="T28" fmla="*/ 7 w 36"/>
                  <a:gd name="T29" fmla="*/ 41 h 55"/>
                  <a:gd name="T30" fmla="*/ 15 w 36"/>
                  <a:gd name="T31" fmla="*/ 48 h 55"/>
                  <a:gd name="T32" fmla="*/ 28 w 36"/>
                  <a:gd name="T33" fmla="*/ 41 h 55"/>
                  <a:gd name="T34" fmla="*/ 30 w 36"/>
                  <a:gd name="T35" fmla="*/ 29 h 55"/>
                  <a:gd name="T36" fmla="*/ 25 w 36"/>
                  <a:gd name="T37" fmla="*/ 2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6" h="55">
                    <a:moveTo>
                      <a:pt x="30" y="54"/>
                    </a:moveTo>
                    <a:cubicBezTo>
                      <a:pt x="30" y="46"/>
                      <a:pt x="30" y="46"/>
                      <a:pt x="30" y="46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26" y="52"/>
                      <a:pt x="21" y="55"/>
                      <a:pt x="14" y="55"/>
                    </a:cubicBezTo>
                    <a:cubicBezTo>
                      <a:pt x="5" y="55"/>
                      <a:pt x="0" y="49"/>
                      <a:pt x="0" y="41"/>
                    </a:cubicBezTo>
                    <a:cubicBezTo>
                      <a:pt x="0" y="26"/>
                      <a:pt x="19" y="24"/>
                      <a:pt x="30" y="24"/>
                    </a:cubicBezTo>
                    <a:cubicBezTo>
                      <a:pt x="30" y="15"/>
                      <a:pt x="31" y="5"/>
                      <a:pt x="19" y="5"/>
                    </a:cubicBezTo>
                    <a:cubicBezTo>
                      <a:pt x="13" y="5"/>
                      <a:pt x="9" y="7"/>
                      <a:pt x="8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4"/>
                      <a:pt x="11" y="0"/>
                      <a:pt x="19" y="0"/>
                    </a:cubicBezTo>
                    <a:cubicBezTo>
                      <a:pt x="32" y="0"/>
                      <a:pt x="36" y="6"/>
                      <a:pt x="36" y="18"/>
                    </a:cubicBezTo>
                    <a:cubicBezTo>
                      <a:pt x="36" y="54"/>
                      <a:pt x="36" y="54"/>
                      <a:pt x="36" y="54"/>
                    </a:cubicBezTo>
                    <a:lnTo>
                      <a:pt x="30" y="54"/>
                    </a:lnTo>
                    <a:close/>
                    <a:moveTo>
                      <a:pt x="25" y="29"/>
                    </a:moveTo>
                    <a:cubicBezTo>
                      <a:pt x="17" y="29"/>
                      <a:pt x="7" y="32"/>
                      <a:pt x="7" y="41"/>
                    </a:cubicBezTo>
                    <a:cubicBezTo>
                      <a:pt x="7" y="45"/>
                      <a:pt x="11" y="48"/>
                      <a:pt x="15" y="48"/>
                    </a:cubicBezTo>
                    <a:cubicBezTo>
                      <a:pt x="20" y="48"/>
                      <a:pt x="25" y="45"/>
                      <a:pt x="28" y="41"/>
                    </a:cubicBezTo>
                    <a:cubicBezTo>
                      <a:pt x="30" y="37"/>
                      <a:pt x="30" y="34"/>
                      <a:pt x="30" y="29"/>
                    </a:cubicBez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" name="Freeform 10"/>
              <p:cNvSpPr>
                <a:spLocks/>
              </p:cNvSpPr>
              <p:nvPr userDrawn="1"/>
            </p:nvSpPr>
            <p:spPr bwMode="auto">
              <a:xfrm>
                <a:off x="3784601" y="2293938"/>
                <a:ext cx="104775" cy="263525"/>
              </a:xfrm>
              <a:custGeom>
                <a:avLst/>
                <a:gdLst>
                  <a:gd name="T0" fmla="*/ 28 w 28"/>
                  <a:gd name="T1" fmla="*/ 69 h 70"/>
                  <a:gd name="T2" fmla="*/ 22 w 28"/>
                  <a:gd name="T3" fmla="*/ 70 h 70"/>
                  <a:gd name="T4" fmla="*/ 8 w 28"/>
                  <a:gd name="T5" fmla="*/ 57 h 70"/>
                  <a:gd name="T6" fmla="*/ 8 w 28"/>
                  <a:gd name="T7" fmla="*/ 21 h 70"/>
                  <a:gd name="T8" fmla="*/ 0 w 28"/>
                  <a:gd name="T9" fmla="*/ 21 h 70"/>
                  <a:gd name="T10" fmla="*/ 0 w 28"/>
                  <a:gd name="T11" fmla="*/ 16 h 70"/>
                  <a:gd name="T12" fmla="*/ 8 w 28"/>
                  <a:gd name="T13" fmla="*/ 16 h 70"/>
                  <a:gd name="T14" fmla="*/ 8 w 28"/>
                  <a:gd name="T15" fmla="*/ 4 h 70"/>
                  <a:gd name="T16" fmla="*/ 14 w 28"/>
                  <a:gd name="T17" fmla="*/ 0 h 70"/>
                  <a:gd name="T18" fmla="*/ 14 w 28"/>
                  <a:gd name="T19" fmla="*/ 16 h 70"/>
                  <a:gd name="T20" fmla="*/ 28 w 28"/>
                  <a:gd name="T21" fmla="*/ 16 h 70"/>
                  <a:gd name="T22" fmla="*/ 28 w 28"/>
                  <a:gd name="T23" fmla="*/ 21 h 70"/>
                  <a:gd name="T24" fmla="*/ 14 w 28"/>
                  <a:gd name="T25" fmla="*/ 21 h 70"/>
                  <a:gd name="T26" fmla="*/ 14 w 28"/>
                  <a:gd name="T27" fmla="*/ 55 h 70"/>
                  <a:gd name="T28" fmla="*/ 22 w 28"/>
                  <a:gd name="T29" fmla="*/ 65 h 70"/>
                  <a:gd name="T30" fmla="*/ 28 w 28"/>
                  <a:gd name="T31" fmla="*/ 64 h 70"/>
                  <a:gd name="T32" fmla="*/ 28 w 28"/>
                  <a:gd name="T33" fmla="*/ 6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70">
                    <a:moveTo>
                      <a:pt x="28" y="69"/>
                    </a:moveTo>
                    <a:cubicBezTo>
                      <a:pt x="26" y="70"/>
                      <a:pt x="24" y="70"/>
                      <a:pt x="22" y="70"/>
                    </a:cubicBezTo>
                    <a:cubicBezTo>
                      <a:pt x="13" y="70"/>
                      <a:pt x="8" y="66"/>
                      <a:pt x="8" y="57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61"/>
                      <a:pt x="16" y="65"/>
                      <a:pt x="22" y="65"/>
                    </a:cubicBezTo>
                    <a:cubicBezTo>
                      <a:pt x="25" y="65"/>
                      <a:pt x="26" y="64"/>
                      <a:pt x="28" y="64"/>
                    </a:cubicBezTo>
                    <a:lnTo>
                      <a:pt x="28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Freeform 11"/>
              <p:cNvSpPr>
                <a:spLocks noEditPoints="1"/>
              </p:cNvSpPr>
              <p:nvPr userDrawn="1"/>
            </p:nvSpPr>
            <p:spPr bwMode="auto">
              <a:xfrm>
                <a:off x="3908426" y="2351088"/>
                <a:ext cx="142875" cy="206375"/>
              </a:xfrm>
              <a:custGeom>
                <a:avLst/>
                <a:gdLst>
                  <a:gd name="T0" fmla="*/ 36 w 38"/>
                  <a:gd name="T1" fmla="*/ 54 h 55"/>
                  <a:gd name="T2" fmla="*/ 25 w 38"/>
                  <a:gd name="T3" fmla="*/ 55 h 55"/>
                  <a:gd name="T4" fmla="*/ 0 w 38"/>
                  <a:gd name="T5" fmla="*/ 26 h 55"/>
                  <a:gd name="T6" fmla="*/ 20 w 38"/>
                  <a:gd name="T7" fmla="*/ 0 h 55"/>
                  <a:gd name="T8" fmla="*/ 38 w 38"/>
                  <a:gd name="T9" fmla="*/ 19 h 55"/>
                  <a:gd name="T10" fmla="*/ 38 w 38"/>
                  <a:gd name="T11" fmla="*/ 21 h 55"/>
                  <a:gd name="T12" fmla="*/ 7 w 38"/>
                  <a:gd name="T13" fmla="*/ 21 h 55"/>
                  <a:gd name="T14" fmla="*/ 7 w 38"/>
                  <a:gd name="T15" fmla="*/ 27 h 55"/>
                  <a:gd name="T16" fmla="*/ 27 w 38"/>
                  <a:gd name="T17" fmla="*/ 50 h 55"/>
                  <a:gd name="T18" fmla="*/ 36 w 38"/>
                  <a:gd name="T19" fmla="*/ 48 h 55"/>
                  <a:gd name="T20" fmla="*/ 36 w 38"/>
                  <a:gd name="T21" fmla="*/ 54 h 55"/>
                  <a:gd name="T22" fmla="*/ 31 w 38"/>
                  <a:gd name="T23" fmla="*/ 16 h 55"/>
                  <a:gd name="T24" fmla="*/ 20 w 38"/>
                  <a:gd name="T25" fmla="*/ 5 h 55"/>
                  <a:gd name="T26" fmla="*/ 7 w 38"/>
                  <a:gd name="T27" fmla="*/ 16 h 55"/>
                  <a:gd name="T28" fmla="*/ 31 w 38"/>
                  <a:gd name="T29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55">
                    <a:moveTo>
                      <a:pt x="36" y="54"/>
                    </a:moveTo>
                    <a:cubicBezTo>
                      <a:pt x="33" y="54"/>
                      <a:pt x="29" y="55"/>
                      <a:pt x="25" y="55"/>
                    </a:cubicBezTo>
                    <a:cubicBezTo>
                      <a:pt x="7" y="55"/>
                      <a:pt x="0" y="42"/>
                      <a:pt x="0" y="26"/>
                    </a:cubicBezTo>
                    <a:cubicBezTo>
                      <a:pt x="0" y="12"/>
                      <a:pt x="4" y="0"/>
                      <a:pt x="20" y="0"/>
                    </a:cubicBezTo>
                    <a:cubicBezTo>
                      <a:pt x="31" y="0"/>
                      <a:pt x="38" y="8"/>
                      <a:pt x="38" y="19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7" y="25"/>
                      <a:pt x="7" y="27"/>
                    </a:cubicBezTo>
                    <a:cubicBezTo>
                      <a:pt x="7" y="40"/>
                      <a:pt x="12" y="50"/>
                      <a:pt x="27" y="50"/>
                    </a:cubicBezTo>
                    <a:cubicBezTo>
                      <a:pt x="30" y="50"/>
                      <a:pt x="33" y="49"/>
                      <a:pt x="36" y="48"/>
                    </a:cubicBezTo>
                    <a:lnTo>
                      <a:pt x="36" y="54"/>
                    </a:lnTo>
                    <a:close/>
                    <a:moveTo>
                      <a:pt x="31" y="16"/>
                    </a:moveTo>
                    <a:cubicBezTo>
                      <a:pt x="31" y="10"/>
                      <a:pt x="26" y="5"/>
                      <a:pt x="20" y="5"/>
                    </a:cubicBezTo>
                    <a:cubicBezTo>
                      <a:pt x="13" y="5"/>
                      <a:pt x="9" y="9"/>
                      <a:pt x="7" y="16"/>
                    </a:cubicBezTo>
                    <a:lnTo>
                      <a:pt x="31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" name="Freeform 12"/>
              <p:cNvSpPr>
                <a:spLocks noEditPoints="1"/>
              </p:cNvSpPr>
              <p:nvPr userDrawn="1"/>
            </p:nvSpPr>
            <p:spPr bwMode="auto">
              <a:xfrm>
                <a:off x="4076701" y="2351088"/>
                <a:ext cx="146050" cy="284162"/>
              </a:xfrm>
              <a:custGeom>
                <a:avLst/>
                <a:gdLst>
                  <a:gd name="T0" fmla="*/ 33 w 39"/>
                  <a:gd name="T1" fmla="*/ 43 h 76"/>
                  <a:gd name="T2" fmla="*/ 33 w 39"/>
                  <a:gd name="T3" fmla="*/ 43 h 76"/>
                  <a:gd name="T4" fmla="*/ 19 w 39"/>
                  <a:gd name="T5" fmla="*/ 54 h 76"/>
                  <a:gd name="T6" fmla="*/ 0 w 39"/>
                  <a:gd name="T7" fmla="*/ 27 h 76"/>
                  <a:gd name="T8" fmla="*/ 19 w 39"/>
                  <a:gd name="T9" fmla="*/ 0 h 76"/>
                  <a:gd name="T10" fmla="*/ 33 w 39"/>
                  <a:gd name="T11" fmla="*/ 11 h 76"/>
                  <a:gd name="T12" fmla="*/ 33 w 39"/>
                  <a:gd name="T13" fmla="*/ 11 h 76"/>
                  <a:gd name="T14" fmla="*/ 33 w 39"/>
                  <a:gd name="T15" fmla="*/ 1 h 76"/>
                  <a:gd name="T16" fmla="*/ 39 w 39"/>
                  <a:gd name="T17" fmla="*/ 1 h 76"/>
                  <a:gd name="T18" fmla="*/ 39 w 39"/>
                  <a:gd name="T19" fmla="*/ 52 h 76"/>
                  <a:gd name="T20" fmla="*/ 17 w 39"/>
                  <a:gd name="T21" fmla="*/ 76 h 76"/>
                  <a:gd name="T22" fmla="*/ 3 w 39"/>
                  <a:gd name="T23" fmla="*/ 74 h 76"/>
                  <a:gd name="T24" fmla="*/ 3 w 39"/>
                  <a:gd name="T25" fmla="*/ 68 h 76"/>
                  <a:gd name="T26" fmla="*/ 15 w 39"/>
                  <a:gd name="T27" fmla="*/ 70 h 76"/>
                  <a:gd name="T28" fmla="*/ 33 w 39"/>
                  <a:gd name="T29" fmla="*/ 53 h 76"/>
                  <a:gd name="T30" fmla="*/ 33 w 39"/>
                  <a:gd name="T31" fmla="*/ 43 h 76"/>
                  <a:gd name="T32" fmla="*/ 33 w 39"/>
                  <a:gd name="T33" fmla="*/ 27 h 76"/>
                  <a:gd name="T34" fmla="*/ 19 w 39"/>
                  <a:gd name="T35" fmla="*/ 5 h 76"/>
                  <a:gd name="T36" fmla="*/ 7 w 39"/>
                  <a:gd name="T37" fmla="*/ 28 h 76"/>
                  <a:gd name="T38" fmla="*/ 19 w 39"/>
                  <a:gd name="T39" fmla="*/ 48 h 76"/>
                  <a:gd name="T40" fmla="*/ 33 w 39"/>
                  <a:gd name="T41" fmla="*/ 2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9" h="76">
                    <a:moveTo>
                      <a:pt x="33" y="43"/>
                    </a:move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49"/>
                      <a:pt x="26" y="54"/>
                      <a:pt x="19" y="54"/>
                    </a:cubicBezTo>
                    <a:cubicBezTo>
                      <a:pt x="3" y="54"/>
                      <a:pt x="0" y="40"/>
                      <a:pt x="0" y="27"/>
                    </a:cubicBezTo>
                    <a:cubicBezTo>
                      <a:pt x="0" y="16"/>
                      <a:pt x="4" y="0"/>
                      <a:pt x="19" y="0"/>
                    </a:cubicBezTo>
                    <a:cubicBezTo>
                      <a:pt x="26" y="0"/>
                      <a:pt x="31" y="4"/>
                      <a:pt x="33" y="1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39" y="67"/>
                      <a:pt x="32" y="76"/>
                      <a:pt x="17" y="76"/>
                    </a:cubicBezTo>
                    <a:cubicBezTo>
                      <a:pt x="12" y="76"/>
                      <a:pt x="8" y="75"/>
                      <a:pt x="3" y="74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7" y="70"/>
                      <a:pt x="11" y="70"/>
                      <a:pt x="15" y="70"/>
                    </a:cubicBezTo>
                    <a:cubicBezTo>
                      <a:pt x="28" y="70"/>
                      <a:pt x="33" y="66"/>
                      <a:pt x="33" y="53"/>
                    </a:cubicBezTo>
                    <a:lnTo>
                      <a:pt x="33" y="43"/>
                    </a:lnTo>
                    <a:close/>
                    <a:moveTo>
                      <a:pt x="33" y="27"/>
                    </a:moveTo>
                    <a:cubicBezTo>
                      <a:pt x="33" y="18"/>
                      <a:pt x="29" y="5"/>
                      <a:pt x="19" y="5"/>
                    </a:cubicBezTo>
                    <a:cubicBezTo>
                      <a:pt x="9" y="5"/>
                      <a:pt x="7" y="21"/>
                      <a:pt x="7" y="28"/>
                    </a:cubicBezTo>
                    <a:cubicBezTo>
                      <a:pt x="7" y="36"/>
                      <a:pt x="8" y="48"/>
                      <a:pt x="19" y="48"/>
                    </a:cubicBezTo>
                    <a:cubicBezTo>
                      <a:pt x="29" y="48"/>
                      <a:pt x="33" y="35"/>
                      <a:pt x="33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Freeform 49"/>
              <p:cNvSpPr>
                <a:spLocks/>
              </p:cNvSpPr>
              <p:nvPr userDrawn="1"/>
            </p:nvSpPr>
            <p:spPr bwMode="auto">
              <a:xfrm>
                <a:off x="4252913" y="2354263"/>
                <a:ext cx="168275" cy="274637"/>
              </a:xfrm>
              <a:custGeom>
                <a:avLst/>
                <a:gdLst>
                  <a:gd name="T0" fmla="*/ 31 w 106"/>
                  <a:gd name="T1" fmla="*/ 173 h 173"/>
                  <a:gd name="T2" fmla="*/ 50 w 106"/>
                  <a:gd name="T3" fmla="*/ 123 h 173"/>
                  <a:gd name="T4" fmla="*/ 0 w 106"/>
                  <a:gd name="T5" fmla="*/ 0 h 173"/>
                  <a:gd name="T6" fmla="*/ 14 w 106"/>
                  <a:gd name="T7" fmla="*/ 0 h 173"/>
                  <a:gd name="T8" fmla="*/ 54 w 106"/>
                  <a:gd name="T9" fmla="*/ 104 h 173"/>
                  <a:gd name="T10" fmla="*/ 92 w 106"/>
                  <a:gd name="T11" fmla="*/ 0 h 173"/>
                  <a:gd name="T12" fmla="*/ 106 w 106"/>
                  <a:gd name="T13" fmla="*/ 0 h 173"/>
                  <a:gd name="T14" fmla="*/ 47 w 106"/>
                  <a:gd name="T15" fmla="*/ 173 h 173"/>
                  <a:gd name="T16" fmla="*/ 31 w 106"/>
                  <a:gd name="T17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173">
                    <a:moveTo>
                      <a:pt x="31" y="173"/>
                    </a:moveTo>
                    <a:lnTo>
                      <a:pt x="50" y="123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54" y="104"/>
                    </a:lnTo>
                    <a:lnTo>
                      <a:pt x="92" y="0"/>
                    </a:lnTo>
                    <a:lnTo>
                      <a:pt x="106" y="0"/>
                    </a:lnTo>
                    <a:lnTo>
                      <a:pt x="47" y="173"/>
                    </a:lnTo>
                    <a:lnTo>
                      <a:pt x="31" y="1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1681163" y="2290763"/>
              <a:ext cx="1514475" cy="266700"/>
            </a:xfrm>
            <a:custGeom>
              <a:avLst/>
              <a:gdLst>
                <a:gd name="T0" fmla="*/ 18 w 404"/>
                <a:gd name="T1" fmla="*/ 62 h 71"/>
                <a:gd name="T2" fmla="*/ 29 w 404"/>
                <a:gd name="T3" fmla="*/ 46 h 71"/>
                <a:gd name="T4" fmla="*/ 41 w 404"/>
                <a:gd name="T5" fmla="*/ 32 h 71"/>
                <a:gd name="T6" fmla="*/ 2 w 404"/>
                <a:gd name="T7" fmla="*/ 33 h 71"/>
                <a:gd name="T8" fmla="*/ 22 w 404"/>
                <a:gd name="T9" fmla="*/ 24 h 71"/>
                <a:gd name="T10" fmla="*/ 29 w 404"/>
                <a:gd name="T11" fmla="*/ 39 h 71"/>
                <a:gd name="T12" fmla="*/ 15 w 404"/>
                <a:gd name="T13" fmla="*/ 71 h 71"/>
                <a:gd name="T14" fmla="*/ 29 w 404"/>
                <a:gd name="T15" fmla="*/ 64 h 71"/>
                <a:gd name="T16" fmla="*/ 41 w 404"/>
                <a:gd name="T17" fmla="*/ 70 h 71"/>
                <a:gd name="T18" fmla="*/ 90 w 404"/>
                <a:gd name="T19" fmla="*/ 35 h 71"/>
                <a:gd name="T20" fmla="*/ 46 w 404"/>
                <a:gd name="T21" fmla="*/ 41 h 71"/>
                <a:gd name="T22" fmla="*/ 90 w 404"/>
                <a:gd name="T23" fmla="*/ 68 h 71"/>
                <a:gd name="T24" fmla="*/ 81 w 404"/>
                <a:gd name="T25" fmla="*/ 62 h 71"/>
                <a:gd name="T26" fmla="*/ 69 w 404"/>
                <a:gd name="T27" fmla="*/ 24 h 71"/>
                <a:gd name="T28" fmla="*/ 125 w 404"/>
                <a:gd name="T29" fmla="*/ 35 h 71"/>
                <a:gd name="T30" fmla="*/ 118 w 404"/>
                <a:gd name="T31" fmla="*/ 16 h 71"/>
                <a:gd name="T32" fmla="*/ 122 w 404"/>
                <a:gd name="T33" fmla="*/ 71 h 71"/>
                <a:gd name="T34" fmla="*/ 137 w 404"/>
                <a:gd name="T35" fmla="*/ 61 h 71"/>
                <a:gd name="T36" fmla="*/ 107 w 404"/>
                <a:gd name="T37" fmla="*/ 39 h 71"/>
                <a:gd name="T38" fmla="*/ 125 w 404"/>
                <a:gd name="T39" fmla="*/ 35 h 71"/>
                <a:gd name="T40" fmla="*/ 153 w 404"/>
                <a:gd name="T41" fmla="*/ 33 h 71"/>
                <a:gd name="T42" fmla="*/ 173 w 404"/>
                <a:gd name="T43" fmla="*/ 33 h 71"/>
                <a:gd name="T44" fmla="*/ 184 w 404"/>
                <a:gd name="T45" fmla="*/ 37 h 71"/>
                <a:gd name="T46" fmla="*/ 142 w 404"/>
                <a:gd name="T47" fmla="*/ 41 h 71"/>
                <a:gd name="T48" fmla="*/ 183 w 404"/>
                <a:gd name="T49" fmla="*/ 69 h 71"/>
                <a:gd name="T50" fmla="*/ 173 w 404"/>
                <a:gd name="T51" fmla="*/ 62 h 71"/>
                <a:gd name="T52" fmla="*/ 184 w 404"/>
                <a:gd name="T53" fmla="*/ 40 h 71"/>
                <a:gd name="T54" fmla="*/ 233 w 404"/>
                <a:gd name="T55" fmla="*/ 70 h 71"/>
                <a:gd name="T56" fmla="*/ 219 w 404"/>
                <a:gd name="T57" fmla="*/ 16 h 71"/>
                <a:gd name="T58" fmla="*/ 203 w 404"/>
                <a:gd name="T59" fmla="*/ 27 h 71"/>
                <a:gd name="T60" fmla="*/ 191 w 404"/>
                <a:gd name="T61" fmla="*/ 17 h 71"/>
                <a:gd name="T62" fmla="*/ 203 w 404"/>
                <a:gd name="T63" fmla="*/ 70 h 71"/>
                <a:gd name="T64" fmla="*/ 215 w 404"/>
                <a:gd name="T65" fmla="*/ 27 h 71"/>
                <a:gd name="T66" fmla="*/ 221 w 404"/>
                <a:gd name="T67" fmla="*/ 40 h 71"/>
                <a:gd name="T68" fmla="*/ 258 w 404"/>
                <a:gd name="T69" fmla="*/ 26 h 71"/>
                <a:gd name="T70" fmla="*/ 274 w 404"/>
                <a:gd name="T71" fmla="*/ 17 h 71"/>
                <a:gd name="T72" fmla="*/ 258 w 404"/>
                <a:gd name="T73" fmla="*/ 0 h 71"/>
                <a:gd name="T74" fmla="*/ 246 w 404"/>
                <a:gd name="T75" fmla="*/ 17 h 71"/>
                <a:gd name="T76" fmla="*/ 236 w 404"/>
                <a:gd name="T77" fmla="*/ 26 h 71"/>
                <a:gd name="T78" fmla="*/ 246 w 404"/>
                <a:gd name="T79" fmla="*/ 56 h 71"/>
                <a:gd name="T80" fmla="*/ 272 w 404"/>
                <a:gd name="T81" fmla="*/ 70 h 71"/>
                <a:gd name="T82" fmla="*/ 267 w 404"/>
                <a:gd name="T83" fmla="*/ 62 h 71"/>
                <a:gd name="T84" fmla="*/ 258 w 404"/>
                <a:gd name="T85" fmla="*/ 26 h 71"/>
                <a:gd name="T86" fmla="*/ 322 w 404"/>
                <a:gd name="T87" fmla="*/ 70 h 71"/>
                <a:gd name="T88" fmla="*/ 310 w 404"/>
                <a:gd name="T89" fmla="*/ 17 h 71"/>
                <a:gd name="T90" fmla="*/ 297 w 404"/>
                <a:gd name="T91" fmla="*/ 59 h 71"/>
                <a:gd name="T92" fmla="*/ 292 w 404"/>
                <a:gd name="T93" fmla="*/ 47 h 71"/>
                <a:gd name="T94" fmla="*/ 280 w 404"/>
                <a:gd name="T95" fmla="*/ 17 h 71"/>
                <a:gd name="T96" fmla="*/ 294 w 404"/>
                <a:gd name="T97" fmla="*/ 71 h 71"/>
                <a:gd name="T98" fmla="*/ 310 w 404"/>
                <a:gd name="T99" fmla="*/ 60 h 71"/>
                <a:gd name="T100" fmla="*/ 342 w 404"/>
                <a:gd name="T101" fmla="*/ 47 h 71"/>
                <a:gd name="T102" fmla="*/ 359 w 404"/>
                <a:gd name="T103" fmla="*/ 16 h 71"/>
                <a:gd name="T104" fmla="*/ 342 w 404"/>
                <a:gd name="T105" fmla="*/ 27 h 71"/>
                <a:gd name="T106" fmla="*/ 330 w 404"/>
                <a:gd name="T107" fmla="*/ 17 h 71"/>
                <a:gd name="T108" fmla="*/ 342 w 404"/>
                <a:gd name="T109" fmla="*/ 70 h 71"/>
                <a:gd name="T110" fmla="*/ 393 w 404"/>
                <a:gd name="T111" fmla="*/ 33 h 71"/>
                <a:gd name="T112" fmla="*/ 383 w 404"/>
                <a:gd name="T113" fmla="*/ 24 h 71"/>
                <a:gd name="T114" fmla="*/ 404 w 404"/>
                <a:gd name="T115" fmla="*/ 40 h 71"/>
                <a:gd name="T116" fmla="*/ 384 w 404"/>
                <a:gd name="T117" fmla="*/ 16 h 71"/>
                <a:gd name="T118" fmla="*/ 388 w 404"/>
                <a:gd name="T119" fmla="*/ 71 h 71"/>
                <a:gd name="T120" fmla="*/ 403 w 404"/>
                <a:gd name="T121" fmla="*/ 60 h 71"/>
                <a:gd name="T122" fmla="*/ 373 w 404"/>
                <a:gd name="T123" fmla="*/ 4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4" h="71">
                  <a:moveTo>
                    <a:pt x="29" y="46"/>
                  </a:moveTo>
                  <a:cubicBezTo>
                    <a:pt x="29" y="53"/>
                    <a:pt x="26" y="62"/>
                    <a:pt x="18" y="62"/>
                  </a:cubicBezTo>
                  <a:cubicBezTo>
                    <a:pt x="14" y="62"/>
                    <a:pt x="12" y="60"/>
                    <a:pt x="12" y="56"/>
                  </a:cubicBezTo>
                  <a:cubicBezTo>
                    <a:pt x="12" y="48"/>
                    <a:pt x="23" y="46"/>
                    <a:pt x="29" y="46"/>
                  </a:cubicBezTo>
                  <a:moveTo>
                    <a:pt x="41" y="70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20"/>
                    <a:pt x="33" y="16"/>
                    <a:pt x="22" y="16"/>
                  </a:cubicBezTo>
                  <a:cubicBezTo>
                    <a:pt x="11" y="16"/>
                    <a:pt x="2" y="20"/>
                    <a:pt x="2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27"/>
                    <a:pt x="17" y="24"/>
                    <a:pt x="22" y="24"/>
                  </a:cubicBezTo>
                  <a:cubicBezTo>
                    <a:pt x="28" y="24"/>
                    <a:pt x="29" y="29"/>
                    <a:pt x="29" y="34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17" y="40"/>
                    <a:pt x="0" y="41"/>
                    <a:pt x="0" y="57"/>
                  </a:cubicBezTo>
                  <a:cubicBezTo>
                    <a:pt x="0" y="66"/>
                    <a:pt x="7" y="71"/>
                    <a:pt x="15" y="71"/>
                  </a:cubicBezTo>
                  <a:cubicBezTo>
                    <a:pt x="21" y="71"/>
                    <a:pt x="26" y="69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41" y="70"/>
                    <a:pt x="41" y="70"/>
                    <a:pt x="41" y="70"/>
                  </a:cubicBezTo>
                  <a:moveTo>
                    <a:pt x="77" y="35"/>
                  </a:moveTo>
                  <a:cubicBezTo>
                    <a:pt x="90" y="35"/>
                    <a:pt x="90" y="35"/>
                    <a:pt x="90" y="35"/>
                  </a:cubicBezTo>
                  <a:cubicBezTo>
                    <a:pt x="90" y="22"/>
                    <a:pt x="83" y="16"/>
                    <a:pt x="70" y="16"/>
                  </a:cubicBezTo>
                  <a:cubicBezTo>
                    <a:pt x="55" y="16"/>
                    <a:pt x="46" y="26"/>
                    <a:pt x="46" y="41"/>
                  </a:cubicBezTo>
                  <a:cubicBezTo>
                    <a:pt x="46" y="59"/>
                    <a:pt x="56" y="71"/>
                    <a:pt x="75" y="71"/>
                  </a:cubicBezTo>
                  <a:cubicBezTo>
                    <a:pt x="80" y="71"/>
                    <a:pt x="85" y="70"/>
                    <a:pt x="90" y="6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87" y="62"/>
                    <a:pt x="84" y="62"/>
                    <a:pt x="81" y="62"/>
                  </a:cubicBezTo>
                  <a:cubicBezTo>
                    <a:pt x="67" y="62"/>
                    <a:pt x="59" y="52"/>
                    <a:pt x="59" y="39"/>
                  </a:cubicBezTo>
                  <a:cubicBezTo>
                    <a:pt x="59" y="33"/>
                    <a:pt x="62" y="24"/>
                    <a:pt x="69" y="24"/>
                  </a:cubicBezTo>
                  <a:cubicBezTo>
                    <a:pt x="76" y="24"/>
                    <a:pt x="77" y="30"/>
                    <a:pt x="77" y="35"/>
                  </a:cubicBezTo>
                  <a:moveTo>
                    <a:pt x="125" y="35"/>
                  </a:moveTo>
                  <a:cubicBezTo>
                    <a:pt x="138" y="35"/>
                    <a:pt x="138" y="35"/>
                    <a:pt x="138" y="35"/>
                  </a:cubicBezTo>
                  <a:cubicBezTo>
                    <a:pt x="138" y="22"/>
                    <a:pt x="130" y="16"/>
                    <a:pt x="118" y="16"/>
                  </a:cubicBezTo>
                  <a:cubicBezTo>
                    <a:pt x="102" y="16"/>
                    <a:pt x="93" y="26"/>
                    <a:pt x="93" y="41"/>
                  </a:cubicBezTo>
                  <a:cubicBezTo>
                    <a:pt x="93" y="59"/>
                    <a:pt x="103" y="71"/>
                    <a:pt x="122" y="71"/>
                  </a:cubicBezTo>
                  <a:cubicBezTo>
                    <a:pt x="127" y="71"/>
                    <a:pt x="132" y="70"/>
                    <a:pt x="137" y="68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4" y="62"/>
                    <a:pt x="131" y="62"/>
                    <a:pt x="128" y="62"/>
                  </a:cubicBezTo>
                  <a:cubicBezTo>
                    <a:pt x="114" y="62"/>
                    <a:pt x="107" y="52"/>
                    <a:pt x="107" y="39"/>
                  </a:cubicBezTo>
                  <a:cubicBezTo>
                    <a:pt x="107" y="33"/>
                    <a:pt x="109" y="24"/>
                    <a:pt x="117" y="24"/>
                  </a:cubicBezTo>
                  <a:cubicBezTo>
                    <a:pt x="123" y="24"/>
                    <a:pt x="125" y="30"/>
                    <a:pt x="125" y="35"/>
                  </a:cubicBezTo>
                  <a:moveTo>
                    <a:pt x="173" y="33"/>
                  </a:moveTo>
                  <a:cubicBezTo>
                    <a:pt x="153" y="33"/>
                    <a:pt x="153" y="33"/>
                    <a:pt x="153" y="33"/>
                  </a:cubicBezTo>
                  <a:cubicBezTo>
                    <a:pt x="154" y="27"/>
                    <a:pt x="158" y="24"/>
                    <a:pt x="163" y="24"/>
                  </a:cubicBezTo>
                  <a:cubicBezTo>
                    <a:pt x="169" y="24"/>
                    <a:pt x="173" y="27"/>
                    <a:pt x="173" y="33"/>
                  </a:cubicBezTo>
                  <a:moveTo>
                    <a:pt x="184" y="40"/>
                  </a:moveTo>
                  <a:cubicBezTo>
                    <a:pt x="184" y="37"/>
                    <a:pt x="184" y="37"/>
                    <a:pt x="184" y="37"/>
                  </a:cubicBezTo>
                  <a:cubicBezTo>
                    <a:pt x="184" y="24"/>
                    <a:pt x="178" y="16"/>
                    <a:pt x="164" y="16"/>
                  </a:cubicBezTo>
                  <a:cubicBezTo>
                    <a:pt x="149" y="16"/>
                    <a:pt x="142" y="26"/>
                    <a:pt x="142" y="41"/>
                  </a:cubicBezTo>
                  <a:cubicBezTo>
                    <a:pt x="142" y="58"/>
                    <a:pt x="150" y="71"/>
                    <a:pt x="168" y="71"/>
                  </a:cubicBezTo>
                  <a:cubicBezTo>
                    <a:pt x="173" y="71"/>
                    <a:pt x="178" y="70"/>
                    <a:pt x="183" y="69"/>
                  </a:cubicBezTo>
                  <a:cubicBezTo>
                    <a:pt x="183" y="60"/>
                    <a:pt x="183" y="60"/>
                    <a:pt x="183" y="60"/>
                  </a:cubicBezTo>
                  <a:cubicBezTo>
                    <a:pt x="180" y="61"/>
                    <a:pt x="176" y="62"/>
                    <a:pt x="173" y="62"/>
                  </a:cubicBezTo>
                  <a:cubicBezTo>
                    <a:pt x="161" y="62"/>
                    <a:pt x="153" y="51"/>
                    <a:pt x="153" y="40"/>
                  </a:cubicBezTo>
                  <a:cubicBezTo>
                    <a:pt x="184" y="40"/>
                    <a:pt x="184" y="40"/>
                    <a:pt x="184" y="40"/>
                  </a:cubicBezTo>
                  <a:moveTo>
                    <a:pt x="221" y="70"/>
                  </a:moveTo>
                  <a:cubicBezTo>
                    <a:pt x="233" y="70"/>
                    <a:pt x="233" y="70"/>
                    <a:pt x="233" y="70"/>
                  </a:cubicBezTo>
                  <a:cubicBezTo>
                    <a:pt x="233" y="33"/>
                    <a:pt x="233" y="33"/>
                    <a:pt x="233" y="33"/>
                  </a:cubicBezTo>
                  <a:cubicBezTo>
                    <a:pt x="233" y="24"/>
                    <a:pt x="229" y="16"/>
                    <a:pt x="219" y="16"/>
                  </a:cubicBezTo>
                  <a:cubicBezTo>
                    <a:pt x="211" y="16"/>
                    <a:pt x="206" y="20"/>
                    <a:pt x="203" y="27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203" y="70"/>
                    <a:pt x="203" y="70"/>
                    <a:pt x="203" y="70"/>
                  </a:cubicBezTo>
                  <a:cubicBezTo>
                    <a:pt x="203" y="47"/>
                    <a:pt x="203" y="47"/>
                    <a:pt x="203" y="47"/>
                  </a:cubicBezTo>
                  <a:cubicBezTo>
                    <a:pt x="203" y="40"/>
                    <a:pt x="206" y="27"/>
                    <a:pt x="215" y="27"/>
                  </a:cubicBezTo>
                  <a:cubicBezTo>
                    <a:pt x="217" y="27"/>
                    <a:pt x="218" y="27"/>
                    <a:pt x="219" y="28"/>
                  </a:cubicBezTo>
                  <a:cubicBezTo>
                    <a:pt x="221" y="30"/>
                    <a:pt x="221" y="37"/>
                    <a:pt x="221" y="40"/>
                  </a:cubicBezTo>
                  <a:cubicBezTo>
                    <a:pt x="221" y="70"/>
                    <a:pt x="221" y="70"/>
                    <a:pt x="221" y="70"/>
                  </a:cubicBezTo>
                  <a:moveTo>
                    <a:pt x="258" y="26"/>
                  </a:moveTo>
                  <a:cubicBezTo>
                    <a:pt x="274" y="26"/>
                    <a:pt x="274" y="26"/>
                    <a:pt x="274" y="26"/>
                  </a:cubicBezTo>
                  <a:cubicBezTo>
                    <a:pt x="274" y="17"/>
                    <a:pt x="274" y="17"/>
                    <a:pt x="274" y="17"/>
                  </a:cubicBezTo>
                  <a:cubicBezTo>
                    <a:pt x="258" y="17"/>
                    <a:pt x="258" y="17"/>
                    <a:pt x="258" y="17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36" y="17"/>
                    <a:pt x="236" y="17"/>
                    <a:pt x="236" y="17"/>
                  </a:cubicBezTo>
                  <a:cubicBezTo>
                    <a:pt x="236" y="26"/>
                    <a:pt x="236" y="26"/>
                    <a:pt x="236" y="26"/>
                  </a:cubicBezTo>
                  <a:cubicBezTo>
                    <a:pt x="246" y="26"/>
                    <a:pt x="246" y="26"/>
                    <a:pt x="246" y="2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67"/>
                    <a:pt x="252" y="71"/>
                    <a:pt x="262" y="71"/>
                  </a:cubicBezTo>
                  <a:cubicBezTo>
                    <a:pt x="266" y="71"/>
                    <a:pt x="269" y="71"/>
                    <a:pt x="272" y="70"/>
                  </a:cubicBezTo>
                  <a:cubicBezTo>
                    <a:pt x="272" y="61"/>
                    <a:pt x="272" y="61"/>
                    <a:pt x="272" y="61"/>
                  </a:cubicBezTo>
                  <a:cubicBezTo>
                    <a:pt x="271" y="62"/>
                    <a:pt x="269" y="62"/>
                    <a:pt x="267" y="62"/>
                  </a:cubicBezTo>
                  <a:cubicBezTo>
                    <a:pt x="259" y="62"/>
                    <a:pt x="258" y="57"/>
                    <a:pt x="258" y="50"/>
                  </a:cubicBezTo>
                  <a:cubicBezTo>
                    <a:pt x="258" y="26"/>
                    <a:pt x="258" y="26"/>
                    <a:pt x="258" y="26"/>
                  </a:cubicBezTo>
                  <a:moveTo>
                    <a:pt x="310" y="70"/>
                  </a:moveTo>
                  <a:cubicBezTo>
                    <a:pt x="322" y="70"/>
                    <a:pt x="322" y="70"/>
                    <a:pt x="322" y="70"/>
                  </a:cubicBezTo>
                  <a:cubicBezTo>
                    <a:pt x="322" y="17"/>
                    <a:pt x="322" y="17"/>
                    <a:pt x="322" y="17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40"/>
                    <a:pt x="310" y="40"/>
                    <a:pt x="310" y="40"/>
                  </a:cubicBezTo>
                  <a:cubicBezTo>
                    <a:pt x="310" y="47"/>
                    <a:pt x="306" y="59"/>
                    <a:pt x="297" y="59"/>
                  </a:cubicBezTo>
                  <a:cubicBezTo>
                    <a:pt x="296" y="59"/>
                    <a:pt x="295" y="59"/>
                    <a:pt x="294" y="58"/>
                  </a:cubicBezTo>
                  <a:cubicBezTo>
                    <a:pt x="292" y="56"/>
                    <a:pt x="292" y="50"/>
                    <a:pt x="292" y="47"/>
                  </a:cubicBezTo>
                  <a:cubicBezTo>
                    <a:pt x="292" y="17"/>
                    <a:pt x="292" y="17"/>
                    <a:pt x="292" y="17"/>
                  </a:cubicBezTo>
                  <a:cubicBezTo>
                    <a:pt x="280" y="17"/>
                    <a:pt x="280" y="17"/>
                    <a:pt x="280" y="17"/>
                  </a:cubicBezTo>
                  <a:cubicBezTo>
                    <a:pt x="280" y="54"/>
                    <a:pt x="280" y="54"/>
                    <a:pt x="280" y="54"/>
                  </a:cubicBezTo>
                  <a:cubicBezTo>
                    <a:pt x="280" y="63"/>
                    <a:pt x="284" y="71"/>
                    <a:pt x="294" y="71"/>
                  </a:cubicBezTo>
                  <a:cubicBezTo>
                    <a:pt x="301" y="71"/>
                    <a:pt x="307" y="66"/>
                    <a:pt x="309" y="60"/>
                  </a:cubicBezTo>
                  <a:cubicBezTo>
                    <a:pt x="310" y="60"/>
                    <a:pt x="310" y="60"/>
                    <a:pt x="310" y="60"/>
                  </a:cubicBezTo>
                  <a:cubicBezTo>
                    <a:pt x="310" y="70"/>
                    <a:pt x="310" y="70"/>
                    <a:pt x="310" y="70"/>
                  </a:cubicBezTo>
                  <a:moveTo>
                    <a:pt x="342" y="47"/>
                  </a:moveTo>
                  <a:cubicBezTo>
                    <a:pt x="342" y="34"/>
                    <a:pt x="347" y="29"/>
                    <a:pt x="359" y="29"/>
                  </a:cubicBezTo>
                  <a:cubicBezTo>
                    <a:pt x="359" y="16"/>
                    <a:pt x="359" y="16"/>
                    <a:pt x="359" y="16"/>
                  </a:cubicBezTo>
                  <a:cubicBezTo>
                    <a:pt x="350" y="16"/>
                    <a:pt x="346" y="19"/>
                    <a:pt x="342" y="27"/>
                  </a:cubicBezTo>
                  <a:cubicBezTo>
                    <a:pt x="342" y="27"/>
                    <a:pt x="342" y="27"/>
                    <a:pt x="342" y="27"/>
                  </a:cubicBezTo>
                  <a:cubicBezTo>
                    <a:pt x="342" y="17"/>
                    <a:pt x="342" y="17"/>
                    <a:pt x="342" y="17"/>
                  </a:cubicBezTo>
                  <a:cubicBezTo>
                    <a:pt x="330" y="17"/>
                    <a:pt x="330" y="17"/>
                    <a:pt x="330" y="17"/>
                  </a:cubicBezTo>
                  <a:cubicBezTo>
                    <a:pt x="330" y="70"/>
                    <a:pt x="330" y="70"/>
                    <a:pt x="330" y="70"/>
                  </a:cubicBezTo>
                  <a:cubicBezTo>
                    <a:pt x="342" y="70"/>
                    <a:pt x="342" y="70"/>
                    <a:pt x="342" y="70"/>
                  </a:cubicBezTo>
                  <a:cubicBezTo>
                    <a:pt x="342" y="47"/>
                    <a:pt x="342" y="47"/>
                    <a:pt x="342" y="47"/>
                  </a:cubicBezTo>
                  <a:moveTo>
                    <a:pt x="393" y="33"/>
                  </a:moveTo>
                  <a:cubicBezTo>
                    <a:pt x="373" y="33"/>
                    <a:pt x="373" y="33"/>
                    <a:pt x="373" y="33"/>
                  </a:cubicBezTo>
                  <a:cubicBezTo>
                    <a:pt x="374" y="27"/>
                    <a:pt x="378" y="24"/>
                    <a:pt x="383" y="24"/>
                  </a:cubicBezTo>
                  <a:cubicBezTo>
                    <a:pt x="389" y="24"/>
                    <a:pt x="393" y="27"/>
                    <a:pt x="393" y="33"/>
                  </a:cubicBezTo>
                  <a:moveTo>
                    <a:pt x="404" y="40"/>
                  </a:moveTo>
                  <a:cubicBezTo>
                    <a:pt x="404" y="37"/>
                    <a:pt x="404" y="37"/>
                    <a:pt x="404" y="37"/>
                  </a:cubicBezTo>
                  <a:cubicBezTo>
                    <a:pt x="404" y="24"/>
                    <a:pt x="398" y="16"/>
                    <a:pt x="384" y="16"/>
                  </a:cubicBezTo>
                  <a:cubicBezTo>
                    <a:pt x="369" y="16"/>
                    <a:pt x="362" y="26"/>
                    <a:pt x="362" y="41"/>
                  </a:cubicBezTo>
                  <a:cubicBezTo>
                    <a:pt x="362" y="58"/>
                    <a:pt x="370" y="71"/>
                    <a:pt x="388" y="71"/>
                  </a:cubicBezTo>
                  <a:cubicBezTo>
                    <a:pt x="393" y="71"/>
                    <a:pt x="398" y="70"/>
                    <a:pt x="403" y="69"/>
                  </a:cubicBezTo>
                  <a:cubicBezTo>
                    <a:pt x="403" y="60"/>
                    <a:pt x="403" y="60"/>
                    <a:pt x="403" y="60"/>
                  </a:cubicBezTo>
                  <a:cubicBezTo>
                    <a:pt x="400" y="61"/>
                    <a:pt x="396" y="62"/>
                    <a:pt x="393" y="62"/>
                  </a:cubicBezTo>
                  <a:cubicBezTo>
                    <a:pt x="381" y="62"/>
                    <a:pt x="373" y="51"/>
                    <a:pt x="373" y="40"/>
                  </a:cubicBezTo>
                  <a:cubicBezTo>
                    <a:pt x="404" y="40"/>
                    <a:pt x="404" y="40"/>
                    <a:pt x="404" y="4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2570163" y="2122488"/>
              <a:ext cx="141288" cy="146050"/>
            </a:xfrm>
            <a:custGeom>
              <a:avLst/>
              <a:gdLst>
                <a:gd name="T0" fmla="*/ 0 w 38"/>
                <a:gd name="T1" fmla="*/ 0 h 39"/>
                <a:gd name="T2" fmla="*/ 0 w 38"/>
                <a:gd name="T3" fmla="*/ 9 h 39"/>
                <a:gd name="T4" fmla="*/ 28 w 38"/>
                <a:gd name="T5" fmla="*/ 20 h 39"/>
                <a:gd name="T6" fmla="*/ 0 w 38"/>
                <a:gd name="T7" fmla="*/ 31 h 39"/>
                <a:gd name="T8" fmla="*/ 0 w 38"/>
                <a:gd name="T9" fmla="*/ 39 h 39"/>
                <a:gd name="T10" fmla="*/ 38 w 38"/>
                <a:gd name="T11" fmla="*/ 24 h 39"/>
                <a:gd name="T12" fmla="*/ 38 w 38"/>
                <a:gd name="T13" fmla="*/ 16 h 39"/>
                <a:gd name="T14" fmla="*/ 0 w 38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24" y="18"/>
                    <a:pt x="28" y="20"/>
                  </a:cubicBezTo>
                  <a:cubicBezTo>
                    <a:pt x="24" y="21"/>
                    <a:pt x="0" y="31"/>
                    <a:pt x="0" y="3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69" name="Group 68"/>
          <p:cNvGrpSpPr/>
          <p:nvPr userDrawn="1"/>
        </p:nvGrpSpPr>
        <p:grpSpPr>
          <a:xfrm>
            <a:off x="5663206" y="1438256"/>
            <a:ext cx="3074394" cy="1546292"/>
            <a:chOff x="5728986" y="1472516"/>
            <a:chExt cx="3074394" cy="2061722"/>
          </a:xfrm>
        </p:grpSpPr>
        <p:sp>
          <p:nvSpPr>
            <p:cNvPr id="70" name="Freeform 69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8368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_Bottom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6"/>
          <p:cNvGrpSpPr/>
          <p:nvPr userDrawn="1"/>
        </p:nvGrpSpPr>
        <p:grpSpPr>
          <a:xfrm>
            <a:off x="5662800" y="1431580"/>
            <a:ext cx="3074394" cy="1546292"/>
            <a:chOff x="5728986" y="1472516"/>
            <a:chExt cx="3074394" cy="2061722"/>
          </a:xfrm>
        </p:grpSpPr>
        <p:sp>
          <p:nvSpPr>
            <p:cNvPr id="48" name="Freeform 47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8" name="Group 17"/>
          <p:cNvGrpSpPr/>
          <p:nvPr userDrawn="1"/>
        </p:nvGrpSpPr>
        <p:grpSpPr>
          <a:xfrm>
            <a:off x="466859" y="312917"/>
            <a:ext cx="3920730" cy="550287"/>
            <a:chOff x="1681163" y="2122488"/>
            <a:chExt cx="2740025" cy="512762"/>
          </a:xfrm>
        </p:grpSpPr>
        <p:sp>
          <p:nvSpPr>
            <p:cNvPr id="4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1684338" y="2125663"/>
              <a:ext cx="2733675" cy="506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17" name="Group 16"/>
            <p:cNvGrpSpPr/>
            <p:nvPr userDrawn="1"/>
          </p:nvGrpSpPr>
          <p:grpSpPr>
            <a:xfrm>
              <a:off x="3233738" y="2293938"/>
              <a:ext cx="1187450" cy="341312"/>
              <a:chOff x="3233738" y="2293938"/>
              <a:chExt cx="1187450" cy="341312"/>
            </a:xfrm>
            <a:solidFill>
              <a:srgbClr val="FF0000"/>
            </a:solidFill>
          </p:grpSpPr>
          <p:sp>
            <p:nvSpPr>
              <p:cNvPr id="5" name="Freeform 6"/>
              <p:cNvSpPr>
                <a:spLocks/>
              </p:cNvSpPr>
              <p:nvPr userDrawn="1"/>
            </p:nvSpPr>
            <p:spPr bwMode="auto">
              <a:xfrm>
                <a:off x="3233738" y="2351088"/>
                <a:ext cx="127000" cy="206375"/>
              </a:xfrm>
              <a:custGeom>
                <a:avLst/>
                <a:gdLst>
                  <a:gd name="T0" fmla="*/ 0 w 34"/>
                  <a:gd name="T1" fmla="*/ 47 h 55"/>
                  <a:gd name="T2" fmla="*/ 14 w 34"/>
                  <a:gd name="T3" fmla="*/ 50 h 55"/>
                  <a:gd name="T4" fmla="*/ 27 w 34"/>
                  <a:gd name="T5" fmla="*/ 40 h 55"/>
                  <a:gd name="T6" fmla="*/ 0 w 34"/>
                  <a:gd name="T7" fmla="*/ 14 h 55"/>
                  <a:gd name="T8" fmla="*/ 18 w 34"/>
                  <a:gd name="T9" fmla="*/ 0 h 55"/>
                  <a:gd name="T10" fmla="*/ 31 w 34"/>
                  <a:gd name="T11" fmla="*/ 2 h 55"/>
                  <a:gd name="T12" fmla="*/ 31 w 34"/>
                  <a:gd name="T13" fmla="*/ 7 h 55"/>
                  <a:gd name="T14" fmla="*/ 18 w 34"/>
                  <a:gd name="T15" fmla="*/ 5 h 55"/>
                  <a:gd name="T16" fmla="*/ 7 w 34"/>
                  <a:gd name="T17" fmla="*/ 13 h 55"/>
                  <a:gd name="T18" fmla="*/ 17 w 34"/>
                  <a:gd name="T19" fmla="*/ 22 h 55"/>
                  <a:gd name="T20" fmla="*/ 22 w 34"/>
                  <a:gd name="T21" fmla="*/ 24 h 55"/>
                  <a:gd name="T22" fmla="*/ 34 w 34"/>
                  <a:gd name="T23" fmla="*/ 39 h 55"/>
                  <a:gd name="T24" fmla="*/ 14 w 34"/>
                  <a:gd name="T25" fmla="*/ 55 h 55"/>
                  <a:gd name="T26" fmla="*/ 0 w 34"/>
                  <a:gd name="T27" fmla="*/ 53 h 55"/>
                  <a:gd name="T28" fmla="*/ 0 w 34"/>
                  <a:gd name="T29" fmla="*/ 4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55">
                    <a:moveTo>
                      <a:pt x="0" y="47"/>
                    </a:moveTo>
                    <a:cubicBezTo>
                      <a:pt x="4" y="48"/>
                      <a:pt x="9" y="50"/>
                      <a:pt x="14" y="50"/>
                    </a:cubicBezTo>
                    <a:cubicBezTo>
                      <a:pt x="21" y="50"/>
                      <a:pt x="27" y="47"/>
                      <a:pt x="27" y="40"/>
                    </a:cubicBezTo>
                    <a:cubicBezTo>
                      <a:pt x="27" y="27"/>
                      <a:pt x="0" y="29"/>
                      <a:pt x="0" y="14"/>
                    </a:cubicBezTo>
                    <a:cubicBezTo>
                      <a:pt x="0" y="3"/>
                      <a:pt x="8" y="0"/>
                      <a:pt x="18" y="0"/>
                    </a:cubicBezTo>
                    <a:cubicBezTo>
                      <a:pt x="22" y="0"/>
                      <a:pt x="26" y="1"/>
                      <a:pt x="31" y="2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7" y="6"/>
                      <a:pt x="22" y="5"/>
                      <a:pt x="18" y="5"/>
                    </a:cubicBezTo>
                    <a:cubicBezTo>
                      <a:pt x="14" y="5"/>
                      <a:pt x="7" y="7"/>
                      <a:pt x="7" y="13"/>
                    </a:cubicBezTo>
                    <a:cubicBezTo>
                      <a:pt x="7" y="18"/>
                      <a:pt x="13" y="20"/>
                      <a:pt x="17" y="22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8" y="28"/>
                      <a:pt x="34" y="30"/>
                      <a:pt x="34" y="39"/>
                    </a:cubicBezTo>
                    <a:cubicBezTo>
                      <a:pt x="34" y="51"/>
                      <a:pt x="24" y="55"/>
                      <a:pt x="14" y="55"/>
                    </a:cubicBezTo>
                    <a:cubicBezTo>
                      <a:pt x="10" y="55"/>
                      <a:pt x="4" y="54"/>
                      <a:pt x="0" y="53"/>
                    </a:cubicBezTo>
                    <a:lnTo>
                      <a:pt x="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" name="Freeform 7"/>
              <p:cNvSpPr>
                <a:spLocks/>
              </p:cNvSpPr>
              <p:nvPr userDrawn="1"/>
            </p:nvSpPr>
            <p:spPr bwMode="auto">
              <a:xfrm>
                <a:off x="3379788" y="2293938"/>
                <a:ext cx="104775" cy="263525"/>
              </a:xfrm>
              <a:custGeom>
                <a:avLst/>
                <a:gdLst>
                  <a:gd name="T0" fmla="*/ 28 w 28"/>
                  <a:gd name="T1" fmla="*/ 69 h 70"/>
                  <a:gd name="T2" fmla="*/ 22 w 28"/>
                  <a:gd name="T3" fmla="*/ 70 h 70"/>
                  <a:gd name="T4" fmla="*/ 8 w 28"/>
                  <a:gd name="T5" fmla="*/ 57 h 70"/>
                  <a:gd name="T6" fmla="*/ 8 w 28"/>
                  <a:gd name="T7" fmla="*/ 21 h 70"/>
                  <a:gd name="T8" fmla="*/ 0 w 28"/>
                  <a:gd name="T9" fmla="*/ 21 h 70"/>
                  <a:gd name="T10" fmla="*/ 0 w 28"/>
                  <a:gd name="T11" fmla="*/ 16 h 70"/>
                  <a:gd name="T12" fmla="*/ 8 w 28"/>
                  <a:gd name="T13" fmla="*/ 16 h 70"/>
                  <a:gd name="T14" fmla="*/ 8 w 28"/>
                  <a:gd name="T15" fmla="*/ 4 h 70"/>
                  <a:gd name="T16" fmla="*/ 14 w 28"/>
                  <a:gd name="T17" fmla="*/ 0 h 70"/>
                  <a:gd name="T18" fmla="*/ 14 w 28"/>
                  <a:gd name="T19" fmla="*/ 16 h 70"/>
                  <a:gd name="T20" fmla="*/ 28 w 28"/>
                  <a:gd name="T21" fmla="*/ 16 h 70"/>
                  <a:gd name="T22" fmla="*/ 28 w 28"/>
                  <a:gd name="T23" fmla="*/ 21 h 70"/>
                  <a:gd name="T24" fmla="*/ 14 w 28"/>
                  <a:gd name="T25" fmla="*/ 21 h 70"/>
                  <a:gd name="T26" fmla="*/ 14 w 28"/>
                  <a:gd name="T27" fmla="*/ 55 h 70"/>
                  <a:gd name="T28" fmla="*/ 23 w 28"/>
                  <a:gd name="T29" fmla="*/ 65 h 70"/>
                  <a:gd name="T30" fmla="*/ 28 w 28"/>
                  <a:gd name="T31" fmla="*/ 64 h 70"/>
                  <a:gd name="T32" fmla="*/ 28 w 28"/>
                  <a:gd name="T33" fmla="*/ 6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70">
                    <a:moveTo>
                      <a:pt x="28" y="69"/>
                    </a:moveTo>
                    <a:cubicBezTo>
                      <a:pt x="26" y="70"/>
                      <a:pt x="24" y="70"/>
                      <a:pt x="22" y="70"/>
                    </a:cubicBezTo>
                    <a:cubicBezTo>
                      <a:pt x="13" y="70"/>
                      <a:pt x="8" y="66"/>
                      <a:pt x="8" y="57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61"/>
                      <a:pt x="16" y="65"/>
                      <a:pt x="23" y="65"/>
                    </a:cubicBezTo>
                    <a:cubicBezTo>
                      <a:pt x="25" y="65"/>
                      <a:pt x="26" y="64"/>
                      <a:pt x="28" y="64"/>
                    </a:cubicBezTo>
                    <a:lnTo>
                      <a:pt x="28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3509963" y="2351088"/>
                <a:ext cx="87313" cy="201612"/>
              </a:xfrm>
              <a:custGeom>
                <a:avLst/>
                <a:gdLst>
                  <a:gd name="T0" fmla="*/ 0 w 23"/>
                  <a:gd name="T1" fmla="*/ 54 h 54"/>
                  <a:gd name="T2" fmla="*/ 0 w 23"/>
                  <a:gd name="T3" fmla="*/ 1 h 54"/>
                  <a:gd name="T4" fmla="*/ 6 w 23"/>
                  <a:gd name="T5" fmla="*/ 1 h 54"/>
                  <a:gd name="T6" fmla="*/ 6 w 23"/>
                  <a:gd name="T7" fmla="*/ 12 h 54"/>
                  <a:gd name="T8" fmla="*/ 6 w 23"/>
                  <a:gd name="T9" fmla="*/ 12 h 54"/>
                  <a:gd name="T10" fmla="*/ 23 w 23"/>
                  <a:gd name="T11" fmla="*/ 0 h 54"/>
                  <a:gd name="T12" fmla="*/ 23 w 23"/>
                  <a:gd name="T13" fmla="*/ 6 h 54"/>
                  <a:gd name="T14" fmla="*/ 6 w 23"/>
                  <a:gd name="T15" fmla="*/ 32 h 54"/>
                  <a:gd name="T16" fmla="*/ 6 w 23"/>
                  <a:gd name="T17" fmla="*/ 54 h 54"/>
                  <a:gd name="T18" fmla="*/ 0 w 23"/>
                  <a:gd name="T1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9" y="4"/>
                      <a:pt x="15" y="0"/>
                      <a:pt x="23" y="0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9" y="6"/>
                      <a:pt x="6" y="22"/>
                      <a:pt x="6" y="32"/>
                    </a:cubicBezTo>
                    <a:cubicBezTo>
                      <a:pt x="6" y="54"/>
                      <a:pt x="6" y="54"/>
                      <a:pt x="6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" name="Freeform 9"/>
              <p:cNvSpPr>
                <a:spLocks noEditPoints="1"/>
              </p:cNvSpPr>
              <p:nvPr userDrawn="1"/>
            </p:nvSpPr>
            <p:spPr bwMode="auto">
              <a:xfrm>
                <a:off x="3616326" y="2351088"/>
                <a:ext cx="134938" cy="206375"/>
              </a:xfrm>
              <a:custGeom>
                <a:avLst/>
                <a:gdLst>
                  <a:gd name="T0" fmla="*/ 30 w 36"/>
                  <a:gd name="T1" fmla="*/ 54 h 55"/>
                  <a:gd name="T2" fmla="*/ 30 w 36"/>
                  <a:gd name="T3" fmla="*/ 46 h 55"/>
                  <a:gd name="T4" fmla="*/ 30 w 36"/>
                  <a:gd name="T5" fmla="*/ 46 h 55"/>
                  <a:gd name="T6" fmla="*/ 14 w 36"/>
                  <a:gd name="T7" fmla="*/ 55 h 55"/>
                  <a:gd name="T8" fmla="*/ 0 w 36"/>
                  <a:gd name="T9" fmla="*/ 41 h 55"/>
                  <a:gd name="T10" fmla="*/ 30 w 36"/>
                  <a:gd name="T11" fmla="*/ 24 h 55"/>
                  <a:gd name="T12" fmla="*/ 19 w 36"/>
                  <a:gd name="T13" fmla="*/ 5 h 55"/>
                  <a:gd name="T14" fmla="*/ 8 w 36"/>
                  <a:gd name="T15" fmla="*/ 14 h 55"/>
                  <a:gd name="T16" fmla="*/ 1 w 36"/>
                  <a:gd name="T17" fmla="*/ 14 h 55"/>
                  <a:gd name="T18" fmla="*/ 19 w 36"/>
                  <a:gd name="T19" fmla="*/ 0 h 55"/>
                  <a:gd name="T20" fmla="*/ 36 w 36"/>
                  <a:gd name="T21" fmla="*/ 18 h 55"/>
                  <a:gd name="T22" fmla="*/ 36 w 36"/>
                  <a:gd name="T23" fmla="*/ 54 h 55"/>
                  <a:gd name="T24" fmla="*/ 30 w 36"/>
                  <a:gd name="T25" fmla="*/ 54 h 55"/>
                  <a:gd name="T26" fmla="*/ 25 w 36"/>
                  <a:gd name="T27" fmla="*/ 29 h 55"/>
                  <a:gd name="T28" fmla="*/ 7 w 36"/>
                  <a:gd name="T29" fmla="*/ 41 h 55"/>
                  <a:gd name="T30" fmla="*/ 15 w 36"/>
                  <a:gd name="T31" fmla="*/ 48 h 55"/>
                  <a:gd name="T32" fmla="*/ 28 w 36"/>
                  <a:gd name="T33" fmla="*/ 41 h 55"/>
                  <a:gd name="T34" fmla="*/ 30 w 36"/>
                  <a:gd name="T35" fmla="*/ 29 h 55"/>
                  <a:gd name="T36" fmla="*/ 25 w 36"/>
                  <a:gd name="T37" fmla="*/ 2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6" h="55">
                    <a:moveTo>
                      <a:pt x="30" y="54"/>
                    </a:moveTo>
                    <a:cubicBezTo>
                      <a:pt x="30" y="46"/>
                      <a:pt x="30" y="46"/>
                      <a:pt x="30" y="46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26" y="52"/>
                      <a:pt x="21" y="55"/>
                      <a:pt x="14" y="55"/>
                    </a:cubicBezTo>
                    <a:cubicBezTo>
                      <a:pt x="5" y="55"/>
                      <a:pt x="0" y="49"/>
                      <a:pt x="0" y="41"/>
                    </a:cubicBezTo>
                    <a:cubicBezTo>
                      <a:pt x="0" y="26"/>
                      <a:pt x="19" y="24"/>
                      <a:pt x="30" y="24"/>
                    </a:cubicBezTo>
                    <a:cubicBezTo>
                      <a:pt x="30" y="15"/>
                      <a:pt x="31" y="5"/>
                      <a:pt x="19" y="5"/>
                    </a:cubicBezTo>
                    <a:cubicBezTo>
                      <a:pt x="13" y="5"/>
                      <a:pt x="9" y="7"/>
                      <a:pt x="8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4"/>
                      <a:pt x="11" y="0"/>
                      <a:pt x="19" y="0"/>
                    </a:cubicBezTo>
                    <a:cubicBezTo>
                      <a:pt x="32" y="0"/>
                      <a:pt x="36" y="6"/>
                      <a:pt x="36" y="18"/>
                    </a:cubicBezTo>
                    <a:cubicBezTo>
                      <a:pt x="36" y="54"/>
                      <a:pt x="36" y="54"/>
                      <a:pt x="36" y="54"/>
                    </a:cubicBezTo>
                    <a:lnTo>
                      <a:pt x="30" y="54"/>
                    </a:lnTo>
                    <a:close/>
                    <a:moveTo>
                      <a:pt x="25" y="29"/>
                    </a:moveTo>
                    <a:cubicBezTo>
                      <a:pt x="17" y="29"/>
                      <a:pt x="7" y="32"/>
                      <a:pt x="7" y="41"/>
                    </a:cubicBezTo>
                    <a:cubicBezTo>
                      <a:pt x="7" y="45"/>
                      <a:pt x="11" y="48"/>
                      <a:pt x="15" y="48"/>
                    </a:cubicBezTo>
                    <a:cubicBezTo>
                      <a:pt x="20" y="48"/>
                      <a:pt x="25" y="45"/>
                      <a:pt x="28" y="41"/>
                    </a:cubicBezTo>
                    <a:cubicBezTo>
                      <a:pt x="30" y="37"/>
                      <a:pt x="30" y="34"/>
                      <a:pt x="30" y="29"/>
                    </a:cubicBez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" name="Freeform 10"/>
              <p:cNvSpPr>
                <a:spLocks/>
              </p:cNvSpPr>
              <p:nvPr userDrawn="1"/>
            </p:nvSpPr>
            <p:spPr bwMode="auto">
              <a:xfrm>
                <a:off x="3784601" y="2293938"/>
                <a:ext cx="104775" cy="263525"/>
              </a:xfrm>
              <a:custGeom>
                <a:avLst/>
                <a:gdLst>
                  <a:gd name="T0" fmla="*/ 28 w 28"/>
                  <a:gd name="T1" fmla="*/ 69 h 70"/>
                  <a:gd name="T2" fmla="*/ 22 w 28"/>
                  <a:gd name="T3" fmla="*/ 70 h 70"/>
                  <a:gd name="T4" fmla="*/ 8 w 28"/>
                  <a:gd name="T5" fmla="*/ 57 h 70"/>
                  <a:gd name="T6" fmla="*/ 8 w 28"/>
                  <a:gd name="T7" fmla="*/ 21 h 70"/>
                  <a:gd name="T8" fmla="*/ 0 w 28"/>
                  <a:gd name="T9" fmla="*/ 21 h 70"/>
                  <a:gd name="T10" fmla="*/ 0 w 28"/>
                  <a:gd name="T11" fmla="*/ 16 h 70"/>
                  <a:gd name="T12" fmla="*/ 8 w 28"/>
                  <a:gd name="T13" fmla="*/ 16 h 70"/>
                  <a:gd name="T14" fmla="*/ 8 w 28"/>
                  <a:gd name="T15" fmla="*/ 4 h 70"/>
                  <a:gd name="T16" fmla="*/ 14 w 28"/>
                  <a:gd name="T17" fmla="*/ 0 h 70"/>
                  <a:gd name="T18" fmla="*/ 14 w 28"/>
                  <a:gd name="T19" fmla="*/ 16 h 70"/>
                  <a:gd name="T20" fmla="*/ 28 w 28"/>
                  <a:gd name="T21" fmla="*/ 16 h 70"/>
                  <a:gd name="T22" fmla="*/ 28 w 28"/>
                  <a:gd name="T23" fmla="*/ 21 h 70"/>
                  <a:gd name="T24" fmla="*/ 14 w 28"/>
                  <a:gd name="T25" fmla="*/ 21 h 70"/>
                  <a:gd name="T26" fmla="*/ 14 w 28"/>
                  <a:gd name="T27" fmla="*/ 55 h 70"/>
                  <a:gd name="T28" fmla="*/ 22 w 28"/>
                  <a:gd name="T29" fmla="*/ 65 h 70"/>
                  <a:gd name="T30" fmla="*/ 28 w 28"/>
                  <a:gd name="T31" fmla="*/ 64 h 70"/>
                  <a:gd name="T32" fmla="*/ 28 w 28"/>
                  <a:gd name="T33" fmla="*/ 6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70">
                    <a:moveTo>
                      <a:pt x="28" y="69"/>
                    </a:moveTo>
                    <a:cubicBezTo>
                      <a:pt x="26" y="70"/>
                      <a:pt x="24" y="70"/>
                      <a:pt x="22" y="70"/>
                    </a:cubicBezTo>
                    <a:cubicBezTo>
                      <a:pt x="13" y="70"/>
                      <a:pt x="8" y="66"/>
                      <a:pt x="8" y="57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61"/>
                      <a:pt x="16" y="65"/>
                      <a:pt x="22" y="65"/>
                    </a:cubicBezTo>
                    <a:cubicBezTo>
                      <a:pt x="25" y="65"/>
                      <a:pt x="26" y="64"/>
                      <a:pt x="28" y="64"/>
                    </a:cubicBezTo>
                    <a:lnTo>
                      <a:pt x="28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" name="Freeform 11"/>
              <p:cNvSpPr>
                <a:spLocks noEditPoints="1"/>
              </p:cNvSpPr>
              <p:nvPr userDrawn="1"/>
            </p:nvSpPr>
            <p:spPr bwMode="auto">
              <a:xfrm>
                <a:off x="3908426" y="2351088"/>
                <a:ext cx="142875" cy="206375"/>
              </a:xfrm>
              <a:custGeom>
                <a:avLst/>
                <a:gdLst>
                  <a:gd name="T0" fmla="*/ 36 w 38"/>
                  <a:gd name="T1" fmla="*/ 54 h 55"/>
                  <a:gd name="T2" fmla="*/ 25 w 38"/>
                  <a:gd name="T3" fmla="*/ 55 h 55"/>
                  <a:gd name="T4" fmla="*/ 0 w 38"/>
                  <a:gd name="T5" fmla="*/ 26 h 55"/>
                  <a:gd name="T6" fmla="*/ 20 w 38"/>
                  <a:gd name="T7" fmla="*/ 0 h 55"/>
                  <a:gd name="T8" fmla="*/ 38 w 38"/>
                  <a:gd name="T9" fmla="*/ 19 h 55"/>
                  <a:gd name="T10" fmla="*/ 38 w 38"/>
                  <a:gd name="T11" fmla="*/ 21 h 55"/>
                  <a:gd name="T12" fmla="*/ 7 w 38"/>
                  <a:gd name="T13" fmla="*/ 21 h 55"/>
                  <a:gd name="T14" fmla="*/ 7 w 38"/>
                  <a:gd name="T15" fmla="*/ 27 h 55"/>
                  <a:gd name="T16" fmla="*/ 27 w 38"/>
                  <a:gd name="T17" fmla="*/ 50 h 55"/>
                  <a:gd name="T18" fmla="*/ 36 w 38"/>
                  <a:gd name="T19" fmla="*/ 48 h 55"/>
                  <a:gd name="T20" fmla="*/ 36 w 38"/>
                  <a:gd name="T21" fmla="*/ 54 h 55"/>
                  <a:gd name="T22" fmla="*/ 31 w 38"/>
                  <a:gd name="T23" fmla="*/ 16 h 55"/>
                  <a:gd name="T24" fmla="*/ 20 w 38"/>
                  <a:gd name="T25" fmla="*/ 5 h 55"/>
                  <a:gd name="T26" fmla="*/ 7 w 38"/>
                  <a:gd name="T27" fmla="*/ 16 h 55"/>
                  <a:gd name="T28" fmla="*/ 31 w 38"/>
                  <a:gd name="T29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55">
                    <a:moveTo>
                      <a:pt x="36" y="54"/>
                    </a:moveTo>
                    <a:cubicBezTo>
                      <a:pt x="33" y="54"/>
                      <a:pt x="29" y="55"/>
                      <a:pt x="25" y="55"/>
                    </a:cubicBezTo>
                    <a:cubicBezTo>
                      <a:pt x="7" y="55"/>
                      <a:pt x="0" y="42"/>
                      <a:pt x="0" y="26"/>
                    </a:cubicBezTo>
                    <a:cubicBezTo>
                      <a:pt x="0" y="12"/>
                      <a:pt x="4" y="0"/>
                      <a:pt x="20" y="0"/>
                    </a:cubicBezTo>
                    <a:cubicBezTo>
                      <a:pt x="31" y="0"/>
                      <a:pt x="38" y="8"/>
                      <a:pt x="38" y="19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7" y="25"/>
                      <a:pt x="7" y="27"/>
                    </a:cubicBezTo>
                    <a:cubicBezTo>
                      <a:pt x="7" y="40"/>
                      <a:pt x="12" y="50"/>
                      <a:pt x="27" y="50"/>
                    </a:cubicBezTo>
                    <a:cubicBezTo>
                      <a:pt x="30" y="50"/>
                      <a:pt x="33" y="49"/>
                      <a:pt x="36" y="48"/>
                    </a:cubicBezTo>
                    <a:lnTo>
                      <a:pt x="36" y="54"/>
                    </a:lnTo>
                    <a:close/>
                    <a:moveTo>
                      <a:pt x="31" y="16"/>
                    </a:moveTo>
                    <a:cubicBezTo>
                      <a:pt x="31" y="10"/>
                      <a:pt x="26" y="5"/>
                      <a:pt x="20" y="5"/>
                    </a:cubicBezTo>
                    <a:cubicBezTo>
                      <a:pt x="13" y="5"/>
                      <a:pt x="9" y="9"/>
                      <a:pt x="7" y="16"/>
                    </a:cubicBezTo>
                    <a:lnTo>
                      <a:pt x="31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" name="Freeform 12"/>
              <p:cNvSpPr>
                <a:spLocks noEditPoints="1"/>
              </p:cNvSpPr>
              <p:nvPr userDrawn="1"/>
            </p:nvSpPr>
            <p:spPr bwMode="auto">
              <a:xfrm>
                <a:off x="4076701" y="2351088"/>
                <a:ext cx="146050" cy="284162"/>
              </a:xfrm>
              <a:custGeom>
                <a:avLst/>
                <a:gdLst>
                  <a:gd name="T0" fmla="*/ 33 w 39"/>
                  <a:gd name="T1" fmla="*/ 43 h 76"/>
                  <a:gd name="T2" fmla="*/ 33 w 39"/>
                  <a:gd name="T3" fmla="*/ 43 h 76"/>
                  <a:gd name="T4" fmla="*/ 19 w 39"/>
                  <a:gd name="T5" fmla="*/ 54 h 76"/>
                  <a:gd name="T6" fmla="*/ 0 w 39"/>
                  <a:gd name="T7" fmla="*/ 27 h 76"/>
                  <a:gd name="T8" fmla="*/ 19 w 39"/>
                  <a:gd name="T9" fmla="*/ 0 h 76"/>
                  <a:gd name="T10" fmla="*/ 33 w 39"/>
                  <a:gd name="T11" fmla="*/ 11 h 76"/>
                  <a:gd name="T12" fmla="*/ 33 w 39"/>
                  <a:gd name="T13" fmla="*/ 11 h 76"/>
                  <a:gd name="T14" fmla="*/ 33 w 39"/>
                  <a:gd name="T15" fmla="*/ 1 h 76"/>
                  <a:gd name="T16" fmla="*/ 39 w 39"/>
                  <a:gd name="T17" fmla="*/ 1 h 76"/>
                  <a:gd name="T18" fmla="*/ 39 w 39"/>
                  <a:gd name="T19" fmla="*/ 52 h 76"/>
                  <a:gd name="T20" fmla="*/ 17 w 39"/>
                  <a:gd name="T21" fmla="*/ 76 h 76"/>
                  <a:gd name="T22" fmla="*/ 3 w 39"/>
                  <a:gd name="T23" fmla="*/ 74 h 76"/>
                  <a:gd name="T24" fmla="*/ 3 w 39"/>
                  <a:gd name="T25" fmla="*/ 68 h 76"/>
                  <a:gd name="T26" fmla="*/ 15 w 39"/>
                  <a:gd name="T27" fmla="*/ 70 h 76"/>
                  <a:gd name="T28" fmla="*/ 33 w 39"/>
                  <a:gd name="T29" fmla="*/ 53 h 76"/>
                  <a:gd name="T30" fmla="*/ 33 w 39"/>
                  <a:gd name="T31" fmla="*/ 43 h 76"/>
                  <a:gd name="T32" fmla="*/ 33 w 39"/>
                  <a:gd name="T33" fmla="*/ 27 h 76"/>
                  <a:gd name="T34" fmla="*/ 19 w 39"/>
                  <a:gd name="T35" fmla="*/ 5 h 76"/>
                  <a:gd name="T36" fmla="*/ 7 w 39"/>
                  <a:gd name="T37" fmla="*/ 28 h 76"/>
                  <a:gd name="T38" fmla="*/ 19 w 39"/>
                  <a:gd name="T39" fmla="*/ 48 h 76"/>
                  <a:gd name="T40" fmla="*/ 33 w 39"/>
                  <a:gd name="T41" fmla="*/ 2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9" h="76">
                    <a:moveTo>
                      <a:pt x="33" y="43"/>
                    </a:move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49"/>
                      <a:pt x="26" y="54"/>
                      <a:pt x="19" y="54"/>
                    </a:cubicBezTo>
                    <a:cubicBezTo>
                      <a:pt x="3" y="54"/>
                      <a:pt x="0" y="40"/>
                      <a:pt x="0" y="27"/>
                    </a:cubicBezTo>
                    <a:cubicBezTo>
                      <a:pt x="0" y="16"/>
                      <a:pt x="4" y="0"/>
                      <a:pt x="19" y="0"/>
                    </a:cubicBezTo>
                    <a:cubicBezTo>
                      <a:pt x="26" y="0"/>
                      <a:pt x="31" y="4"/>
                      <a:pt x="33" y="1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39" y="67"/>
                      <a:pt x="32" y="76"/>
                      <a:pt x="17" y="76"/>
                    </a:cubicBezTo>
                    <a:cubicBezTo>
                      <a:pt x="12" y="76"/>
                      <a:pt x="8" y="75"/>
                      <a:pt x="3" y="74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7" y="70"/>
                      <a:pt x="11" y="70"/>
                      <a:pt x="15" y="70"/>
                    </a:cubicBezTo>
                    <a:cubicBezTo>
                      <a:pt x="28" y="70"/>
                      <a:pt x="33" y="66"/>
                      <a:pt x="33" y="53"/>
                    </a:cubicBezTo>
                    <a:lnTo>
                      <a:pt x="33" y="43"/>
                    </a:lnTo>
                    <a:close/>
                    <a:moveTo>
                      <a:pt x="33" y="27"/>
                    </a:moveTo>
                    <a:cubicBezTo>
                      <a:pt x="33" y="18"/>
                      <a:pt x="29" y="5"/>
                      <a:pt x="19" y="5"/>
                    </a:cubicBezTo>
                    <a:cubicBezTo>
                      <a:pt x="9" y="5"/>
                      <a:pt x="7" y="21"/>
                      <a:pt x="7" y="28"/>
                    </a:cubicBezTo>
                    <a:cubicBezTo>
                      <a:pt x="7" y="36"/>
                      <a:pt x="8" y="48"/>
                      <a:pt x="19" y="48"/>
                    </a:cubicBezTo>
                    <a:cubicBezTo>
                      <a:pt x="29" y="48"/>
                      <a:pt x="33" y="35"/>
                      <a:pt x="33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" name="Freeform 13"/>
              <p:cNvSpPr>
                <a:spLocks/>
              </p:cNvSpPr>
              <p:nvPr userDrawn="1"/>
            </p:nvSpPr>
            <p:spPr bwMode="auto">
              <a:xfrm>
                <a:off x="4252913" y="2354263"/>
                <a:ext cx="168275" cy="274637"/>
              </a:xfrm>
              <a:custGeom>
                <a:avLst/>
                <a:gdLst>
                  <a:gd name="T0" fmla="*/ 31 w 106"/>
                  <a:gd name="T1" fmla="*/ 173 h 173"/>
                  <a:gd name="T2" fmla="*/ 50 w 106"/>
                  <a:gd name="T3" fmla="*/ 123 h 173"/>
                  <a:gd name="T4" fmla="*/ 0 w 106"/>
                  <a:gd name="T5" fmla="*/ 0 h 173"/>
                  <a:gd name="T6" fmla="*/ 14 w 106"/>
                  <a:gd name="T7" fmla="*/ 0 h 173"/>
                  <a:gd name="T8" fmla="*/ 54 w 106"/>
                  <a:gd name="T9" fmla="*/ 104 h 173"/>
                  <a:gd name="T10" fmla="*/ 92 w 106"/>
                  <a:gd name="T11" fmla="*/ 0 h 173"/>
                  <a:gd name="T12" fmla="*/ 106 w 106"/>
                  <a:gd name="T13" fmla="*/ 0 h 173"/>
                  <a:gd name="T14" fmla="*/ 47 w 106"/>
                  <a:gd name="T15" fmla="*/ 173 h 173"/>
                  <a:gd name="T16" fmla="*/ 31 w 106"/>
                  <a:gd name="T17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173">
                    <a:moveTo>
                      <a:pt x="31" y="173"/>
                    </a:moveTo>
                    <a:lnTo>
                      <a:pt x="50" y="123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54" y="104"/>
                    </a:lnTo>
                    <a:lnTo>
                      <a:pt x="92" y="0"/>
                    </a:lnTo>
                    <a:lnTo>
                      <a:pt x="106" y="0"/>
                    </a:lnTo>
                    <a:lnTo>
                      <a:pt x="47" y="173"/>
                    </a:lnTo>
                    <a:lnTo>
                      <a:pt x="31" y="1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1681163" y="2290763"/>
              <a:ext cx="1514475" cy="266700"/>
            </a:xfrm>
            <a:custGeom>
              <a:avLst/>
              <a:gdLst>
                <a:gd name="T0" fmla="*/ 18 w 404"/>
                <a:gd name="T1" fmla="*/ 62 h 71"/>
                <a:gd name="T2" fmla="*/ 29 w 404"/>
                <a:gd name="T3" fmla="*/ 46 h 71"/>
                <a:gd name="T4" fmla="*/ 41 w 404"/>
                <a:gd name="T5" fmla="*/ 32 h 71"/>
                <a:gd name="T6" fmla="*/ 2 w 404"/>
                <a:gd name="T7" fmla="*/ 33 h 71"/>
                <a:gd name="T8" fmla="*/ 22 w 404"/>
                <a:gd name="T9" fmla="*/ 24 h 71"/>
                <a:gd name="T10" fmla="*/ 29 w 404"/>
                <a:gd name="T11" fmla="*/ 39 h 71"/>
                <a:gd name="T12" fmla="*/ 15 w 404"/>
                <a:gd name="T13" fmla="*/ 71 h 71"/>
                <a:gd name="T14" fmla="*/ 29 w 404"/>
                <a:gd name="T15" fmla="*/ 64 h 71"/>
                <a:gd name="T16" fmla="*/ 41 w 404"/>
                <a:gd name="T17" fmla="*/ 70 h 71"/>
                <a:gd name="T18" fmla="*/ 90 w 404"/>
                <a:gd name="T19" fmla="*/ 35 h 71"/>
                <a:gd name="T20" fmla="*/ 46 w 404"/>
                <a:gd name="T21" fmla="*/ 41 h 71"/>
                <a:gd name="T22" fmla="*/ 90 w 404"/>
                <a:gd name="T23" fmla="*/ 68 h 71"/>
                <a:gd name="T24" fmla="*/ 81 w 404"/>
                <a:gd name="T25" fmla="*/ 62 h 71"/>
                <a:gd name="T26" fmla="*/ 69 w 404"/>
                <a:gd name="T27" fmla="*/ 24 h 71"/>
                <a:gd name="T28" fmla="*/ 125 w 404"/>
                <a:gd name="T29" fmla="*/ 35 h 71"/>
                <a:gd name="T30" fmla="*/ 118 w 404"/>
                <a:gd name="T31" fmla="*/ 16 h 71"/>
                <a:gd name="T32" fmla="*/ 122 w 404"/>
                <a:gd name="T33" fmla="*/ 71 h 71"/>
                <a:gd name="T34" fmla="*/ 137 w 404"/>
                <a:gd name="T35" fmla="*/ 61 h 71"/>
                <a:gd name="T36" fmla="*/ 107 w 404"/>
                <a:gd name="T37" fmla="*/ 39 h 71"/>
                <a:gd name="T38" fmla="*/ 125 w 404"/>
                <a:gd name="T39" fmla="*/ 35 h 71"/>
                <a:gd name="T40" fmla="*/ 153 w 404"/>
                <a:gd name="T41" fmla="*/ 33 h 71"/>
                <a:gd name="T42" fmla="*/ 173 w 404"/>
                <a:gd name="T43" fmla="*/ 33 h 71"/>
                <a:gd name="T44" fmla="*/ 184 w 404"/>
                <a:gd name="T45" fmla="*/ 37 h 71"/>
                <a:gd name="T46" fmla="*/ 142 w 404"/>
                <a:gd name="T47" fmla="*/ 41 h 71"/>
                <a:gd name="T48" fmla="*/ 183 w 404"/>
                <a:gd name="T49" fmla="*/ 69 h 71"/>
                <a:gd name="T50" fmla="*/ 173 w 404"/>
                <a:gd name="T51" fmla="*/ 62 h 71"/>
                <a:gd name="T52" fmla="*/ 184 w 404"/>
                <a:gd name="T53" fmla="*/ 40 h 71"/>
                <a:gd name="T54" fmla="*/ 233 w 404"/>
                <a:gd name="T55" fmla="*/ 70 h 71"/>
                <a:gd name="T56" fmla="*/ 219 w 404"/>
                <a:gd name="T57" fmla="*/ 16 h 71"/>
                <a:gd name="T58" fmla="*/ 203 w 404"/>
                <a:gd name="T59" fmla="*/ 27 h 71"/>
                <a:gd name="T60" fmla="*/ 191 w 404"/>
                <a:gd name="T61" fmla="*/ 17 h 71"/>
                <a:gd name="T62" fmla="*/ 203 w 404"/>
                <a:gd name="T63" fmla="*/ 70 h 71"/>
                <a:gd name="T64" fmla="*/ 215 w 404"/>
                <a:gd name="T65" fmla="*/ 27 h 71"/>
                <a:gd name="T66" fmla="*/ 221 w 404"/>
                <a:gd name="T67" fmla="*/ 40 h 71"/>
                <a:gd name="T68" fmla="*/ 258 w 404"/>
                <a:gd name="T69" fmla="*/ 26 h 71"/>
                <a:gd name="T70" fmla="*/ 274 w 404"/>
                <a:gd name="T71" fmla="*/ 17 h 71"/>
                <a:gd name="T72" fmla="*/ 258 w 404"/>
                <a:gd name="T73" fmla="*/ 0 h 71"/>
                <a:gd name="T74" fmla="*/ 246 w 404"/>
                <a:gd name="T75" fmla="*/ 17 h 71"/>
                <a:gd name="T76" fmla="*/ 236 w 404"/>
                <a:gd name="T77" fmla="*/ 26 h 71"/>
                <a:gd name="T78" fmla="*/ 246 w 404"/>
                <a:gd name="T79" fmla="*/ 56 h 71"/>
                <a:gd name="T80" fmla="*/ 272 w 404"/>
                <a:gd name="T81" fmla="*/ 70 h 71"/>
                <a:gd name="T82" fmla="*/ 267 w 404"/>
                <a:gd name="T83" fmla="*/ 62 h 71"/>
                <a:gd name="T84" fmla="*/ 258 w 404"/>
                <a:gd name="T85" fmla="*/ 26 h 71"/>
                <a:gd name="T86" fmla="*/ 322 w 404"/>
                <a:gd name="T87" fmla="*/ 70 h 71"/>
                <a:gd name="T88" fmla="*/ 310 w 404"/>
                <a:gd name="T89" fmla="*/ 17 h 71"/>
                <a:gd name="T90" fmla="*/ 297 w 404"/>
                <a:gd name="T91" fmla="*/ 59 h 71"/>
                <a:gd name="T92" fmla="*/ 292 w 404"/>
                <a:gd name="T93" fmla="*/ 47 h 71"/>
                <a:gd name="T94" fmla="*/ 280 w 404"/>
                <a:gd name="T95" fmla="*/ 17 h 71"/>
                <a:gd name="T96" fmla="*/ 294 w 404"/>
                <a:gd name="T97" fmla="*/ 71 h 71"/>
                <a:gd name="T98" fmla="*/ 310 w 404"/>
                <a:gd name="T99" fmla="*/ 60 h 71"/>
                <a:gd name="T100" fmla="*/ 342 w 404"/>
                <a:gd name="T101" fmla="*/ 47 h 71"/>
                <a:gd name="T102" fmla="*/ 359 w 404"/>
                <a:gd name="T103" fmla="*/ 16 h 71"/>
                <a:gd name="T104" fmla="*/ 342 w 404"/>
                <a:gd name="T105" fmla="*/ 27 h 71"/>
                <a:gd name="T106" fmla="*/ 330 w 404"/>
                <a:gd name="T107" fmla="*/ 17 h 71"/>
                <a:gd name="T108" fmla="*/ 342 w 404"/>
                <a:gd name="T109" fmla="*/ 70 h 71"/>
                <a:gd name="T110" fmla="*/ 393 w 404"/>
                <a:gd name="T111" fmla="*/ 33 h 71"/>
                <a:gd name="T112" fmla="*/ 383 w 404"/>
                <a:gd name="T113" fmla="*/ 24 h 71"/>
                <a:gd name="T114" fmla="*/ 404 w 404"/>
                <a:gd name="T115" fmla="*/ 40 h 71"/>
                <a:gd name="T116" fmla="*/ 384 w 404"/>
                <a:gd name="T117" fmla="*/ 16 h 71"/>
                <a:gd name="T118" fmla="*/ 388 w 404"/>
                <a:gd name="T119" fmla="*/ 71 h 71"/>
                <a:gd name="T120" fmla="*/ 403 w 404"/>
                <a:gd name="T121" fmla="*/ 60 h 71"/>
                <a:gd name="T122" fmla="*/ 373 w 404"/>
                <a:gd name="T123" fmla="*/ 4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4" h="71">
                  <a:moveTo>
                    <a:pt x="29" y="46"/>
                  </a:moveTo>
                  <a:cubicBezTo>
                    <a:pt x="29" y="53"/>
                    <a:pt x="26" y="62"/>
                    <a:pt x="18" y="62"/>
                  </a:cubicBezTo>
                  <a:cubicBezTo>
                    <a:pt x="14" y="62"/>
                    <a:pt x="12" y="60"/>
                    <a:pt x="12" y="56"/>
                  </a:cubicBezTo>
                  <a:cubicBezTo>
                    <a:pt x="12" y="48"/>
                    <a:pt x="23" y="46"/>
                    <a:pt x="29" y="46"/>
                  </a:cubicBezTo>
                  <a:moveTo>
                    <a:pt x="41" y="70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20"/>
                    <a:pt x="33" y="16"/>
                    <a:pt x="22" y="16"/>
                  </a:cubicBezTo>
                  <a:cubicBezTo>
                    <a:pt x="11" y="16"/>
                    <a:pt x="2" y="20"/>
                    <a:pt x="2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27"/>
                    <a:pt x="17" y="24"/>
                    <a:pt x="22" y="24"/>
                  </a:cubicBezTo>
                  <a:cubicBezTo>
                    <a:pt x="28" y="24"/>
                    <a:pt x="29" y="29"/>
                    <a:pt x="29" y="34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17" y="40"/>
                    <a:pt x="0" y="41"/>
                    <a:pt x="0" y="57"/>
                  </a:cubicBezTo>
                  <a:cubicBezTo>
                    <a:pt x="0" y="66"/>
                    <a:pt x="7" y="71"/>
                    <a:pt x="15" y="71"/>
                  </a:cubicBezTo>
                  <a:cubicBezTo>
                    <a:pt x="21" y="71"/>
                    <a:pt x="26" y="69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41" y="70"/>
                    <a:pt x="41" y="70"/>
                    <a:pt x="41" y="70"/>
                  </a:cubicBezTo>
                  <a:moveTo>
                    <a:pt x="77" y="35"/>
                  </a:moveTo>
                  <a:cubicBezTo>
                    <a:pt x="90" y="35"/>
                    <a:pt x="90" y="35"/>
                    <a:pt x="90" y="35"/>
                  </a:cubicBezTo>
                  <a:cubicBezTo>
                    <a:pt x="90" y="22"/>
                    <a:pt x="83" y="16"/>
                    <a:pt x="70" y="16"/>
                  </a:cubicBezTo>
                  <a:cubicBezTo>
                    <a:pt x="55" y="16"/>
                    <a:pt x="46" y="26"/>
                    <a:pt x="46" y="41"/>
                  </a:cubicBezTo>
                  <a:cubicBezTo>
                    <a:pt x="46" y="59"/>
                    <a:pt x="56" y="71"/>
                    <a:pt x="75" y="71"/>
                  </a:cubicBezTo>
                  <a:cubicBezTo>
                    <a:pt x="80" y="71"/>
                    <a:pt x="85" y="70"/>
                    <a:pt x="90" y="6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87" y="62"/>
                    <a:pt x="84" y="62"/>
                    <a:pt x="81" y="62"/>
                  </a:cubicBezTo>
                  <a:cubicBezTo>
                    <a:pt x="67" y="62"/>
                    <a:pt x="59" y="52"/>
                    <a:pt x="59" y="39"/>
                  </a:cubicBezTo>
                  <a:cubicBezTo>
                    <a:pt x="59" y="33"/>
                    <a:pt x="62" y="24"/>
                    <a:pt x="69" y="24"/>
                  </a:cubicBezTo>
                  <a:cubicBezTo>
                    <a:pt x="76" y="24"/>
                    <a:pt x="77" y="30"/>
                    <a:pt x="77" y="35"/>
                  </a:cubicBezTo>
                  <a:moveTo>
                    <a:pt x="125" y="35"/>
                  </a:moveTo>
                  <a:cubicBezTo>
                    <a:pt x="138" y="35"/>
                    <a:pt x="138" y="35"/>
                    <a:pt x="138" y="35"/>
                  </a:cubicBezTo>
                  <a:cubicBezTo>
                    <a:pt x="138" y="22"/>
                    <a:pt x="130" y="16"/>
                    <a:pt x="118" y="16"/>
                  </a:cubicBezTo>
                  <a:cubicBezTo>
                    <a:pt x="102" y="16"/>
                    <a:pt x="93" y="26"/>
                    <a:pt x="93" y="41"/>
                  </a:cubicBezTo>
                  <a:cubicBezTo>
                    <a:pt x="93" y="59"/>
                    <a:pt x="103" y="71"/>
                    <a:pt x="122" y="71"/>
                  </a:cubicBezTo>
                  <a:cubicBezTo>
                    <a:pt x="127" y="71"/>
                    <a:pt x="132" y="70"/>
                    <a:pt x="137" y="68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4" y="62"/>
                    <a:pt x="131" y="62"/>
                    <a:pt x="128" y="62"/>
                  </a:cubicBezTo>
                  <a:cubicBezTo>
                    <a:pt x="114" y="62"/>
                    <a:pt x="107" y="52"/>
                    <a:pt x="107" y="39"/>
                  </a:cubicBezTo>
                  <a:cubicBezTo>
                    <a:pt x="107" y="33"/>
                    <a:pt x="109" y="24"/>
                    <a:pt x="117" y="24"/>
                  </a:cubicBezTo>
                  <a:cubicBezTo>
                    <a:pt x="123" y="24"/>
                    <a:pt x="125" y="30"/>
                    <a:pt x="125" y="35"/>
                  </a:cubicBezTo>
                  <a:moveTo>
                    <a:pt x="173" y="33"/>
                  </a:moveTo>
                  <a:cubicBezTo>
                    <a:pt x="153" y="33"/>
                    <a:pt x="153" y="33"/>
                    <a:pt x="153" y="33"/>
                  </a:cubicBezTo>
                  <a:cubicBezTo>
                    <a:pt x="154" y="27"/>
                    <a:pt x="158" y="24"/>
                    <a:pt x="163" y="24"/>
                  </a:cubicBezTo>
                  <a:cubicBezTo>
                    <a:pt x="169" y="24"/>
                    <a:pt x="173" y="27"/>
                    <a:pt x="173" y="33"/>
                  </a:cubicBezTo>
                  <a:moveTo>
                    <a:pt x="184" y="40"/>
                  </a:moveTo>
                  <a:cubicBezTo>
                    <a:pt x="184" y="37"/>
                    <a:pt x="184" y="37"/>
                    <a:pt x="184" y="37"/>
                  </a:cubicBezTo>
                  <a:cubicBezTo>
                    <a:pt x="184" y="24"/>
                    <a:pt x="178" y="16"/>
                    <a:pt x="164" y="16"/>
                  </a:cubicBezTo>
                  <a:cubicBezTo>
                    <a:pt x="149" y="16"/>
                    <a:pt x="142" y="26"/>
                    <a:pt x="142" y="41"/>
                  </a:cubicBezTo>
                  <a:cubicBezTo>
                    <a:pt x="142" y="58"/>
                    <a:pt x="150" y="71"/>
                    <a:pt x="168" y="71"/>
                  </a:cubicBezTo>
                  <a:cubicBezTo>
                    <a:pt x="173" y="71"/>
                    <a:pt x="178" y="70"/>
                    <a:pt x="183" y="69"/>
                  </a:cubicBezTo>
                  <a:cubicBezTo>
                    <a:pt x="183" y="60"/>
                    <a:pt x="183" y="60"/>
                    <a:pt x="183" y="60"/>
                  </a:cubicBezTo>
                  <a:cubicBezTo>
                    <a:pt x="180" y="61"/>
                    <a:pt x="176" y="62"/>
                    <a:pt x="173" y="62"/>
                  </a:cubicBezTo>
                  <a:cubicBezTo>
                    <a:pt x="161" y="62"/>
                    <a:pt x="153" y="51"/>
                    <a:pt x="153" y="40"/>
                  </a:cubicBezTo>
                  <a:cubicBezTo>
                    <a:pt x="184" y="40"/>
                    <a:pt x="184" y="40"/>
                    <a:pt x="184" y="40"/>
                  </a:cubicBezTo>
                  <a:moveTo>
                    <a:pt x="221" y="70"/>
                  </a:moveTo>
                  <a:cubicBezTo>
                    <a:pt x="233" y="70"/>
                    <a:pt x="233" y="70"/>
                    <a:pt x="233" y="70"/>
                  </a:cubicBezTo>
                  <a:cubicBezTo>
                    <a:pt x="233" y="33"/>
                    <a:pt x="233" y="33"/>
                    <a:pt x="233" y="33"/>
                  </a:cubicBezTo>
                  <a:cubicBezTo>
                    <a:pt x="233" y="24"/>
                    <a:pt x="229" y="16"/>
                    <a:pt x="219" y="16"/>
                  </a:cubicBezTo>
                  <a:cubicBezTo>
                    <a:pt x="211" y="16"/>
                    <a:pt x="206" y="20"/>
                    <a:pt x="203" y="27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203" y="70"/>
                    <a:pt x="203" y="70"/>
                    <a:pt x="203" y="70"/>
                  </a:cubicBezTo>
                  <a:cubicBezTo>
                    <a:pt x="203" y="47"/>
                    <a:pt x="203" y="47"/>
                    <a:pt x="203" y="47"/>
                  </a:cubicBezTo>
                  <a:cubicBezTo>
                    <a:pt x="203" y="40"/>
                    <a:pt x="206" y="27"/>
                    <a:pt x="215" y="27"/>
                  </a:cubicBezTo>
                  <a:cubicBezTo>
                    <a:pt x="217" y="27"/>
                    <a:pt x="218" y="27"/>
                    <a:pt x="219" y="28"/>
                  </a:cubicBezTo>
                  <a:cubicBezTo>
                    <a:pt x="221" y="30"/>
                    <a:pt x="221" y="37"/>
                    <a:pt x="221" y="40"/>
                  </a:cubicBezTo>
                  <a:cubicBezTo>
                    <a:pt x="221" y="70"/>
                    <a:pt x="221" y="70"/>
                    <a:pt x="221" y="70"/>
                  </a:cubicBezTo>
                  <a:moveTo>
                    <a:pt x="258" y="26"/>
                  </a:moveTo>
                  <a:cubicBezTo>
                    <a:pt x="274" y="26"/>
                    <a:pt x="274" y="26"/>
                    <a:pt x="274" y="26"/>
                  </a:cubicBezTo>
                  <a:cubicBezTo>
                    <a:pt x="274" y="17"/>
                    <a:pt x="274" y="17"/>
                    <a:pt x="274" y="17"/>
                  </a:cubicBezTo>
                  <a:cubicBezTo>
                    <a:pt x="258" y="17"/>
                    <a:pt x="258" y="17"/>
                    <a:pt x="258" y="17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36" y="17"/>
                    <a:pt x="236" y="17"/>
                    <a:pt x="236" y="17"/>
                  </a:cubicBezTo>
                  <a:cubicBezTo>
                    <a:pt x="236" y="26"/>
                    <a:pt x="236" y="26"/>
                    <a:pt x="236" y="26"/>
                  </a:cubicBezTo>
                  <a:cubicBezTo>
                    <a:pt x="246" y="26"/>
                    <a:pt x="246" y="26"/>
                    <a:pt x="246" y="2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67"/>
                    <a:pt x="252" y="71"/>
                    <a:pt x="262" y="71"/>
                  </a:cubicBezTo>
                  <a:cubicBezTo>
                    <a:pt x="266" y="71"/>
                    <a:pt x="269" y="71"/>
                    <a:pt x="272" y="70"/>
                  </a:cubicBezTo>
                  <a:cubicBezTo>
                    <a:pt x="272" y="61"/>
                    <a:pt x="272" y="61"/>
                    <a:pt x="272" y="61"/>
                  </a:cubicBezTo>
                  <a:cubicBezTo>
                    <a:pt x="271" y="62"/>
                    <a:pt x="269" y="62"/>
                    <a:pt x="267" y="62"/>
                  </a:cubicBezTo>
                  <a:cubicBezTo>
                    <a:pt x="259" y="62"/>
                    <a:pt x="258" y="57"/>
                    <a:pt x="258" y="50"/>
                  </a:cubicBezTo>
                  <a:cubicBezTo>
                    <a:pt x="258" y="26"/>
                    <a:pt x="258" y="26"/>
                    <a:pt x="258" y="26"/>
                  </a:cubicBezTo>
                  <a:moveTo>
                    <a:pt x="310" y="70"/>
                  </a:moveTo>
                  <a:cubicBezTo>
                    <a:pt x="322" y="70"/>
                    <a:pt x="322" y="70"/>
                    <a:pt x="322" y="70"/>
                  </a:cubicBezTo>
                  <a:cubicBezTo>
                    <a:pt x="322" y="17"/>
                    <a:pt x="322" y="17"/>
                    <a:pt x="322" y="17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40"/>
                    <a:pt x="310" y="40"/>
                    <a:pt x="310" y="40"/>
                  </a:cubicBezTo>
                  <a:cubicBezTo>
                    <a:pt x="310" y="47"/>
                    <a:pt x="306" y="59"/>
                    <a:pt x="297" y="59"/>
                  </a:cubicBezTo>
                  <a:cubicBezTo>
                    <a:pt x="296" y="59"/>
                    <a:pt x="295" y="59"/>
                    <a:pt x="294" y="58"/>
                  </a:cubicBezTo>
                  <a:cubicBezTo>
                    <a:pt x="292" y="56"/>
                    <a:pt x="292" y="50"/>
                    <a:pt x="292" y="47"/>
                  </a:cubicBezTo>
                  <a:cubicBezTo>
                    <a:pt x="292" y="17"/>
                    <a:pt x="292" y="17"/>
                    <a:pt x="292" y="17"/>
                  </a:cubicBezTo>
                  <a:cubicBezTo>
                    <a:pt x="280" y="17"/>
                    <a:pt x="280" y="17"/>
                    <a:pt x="280" y="17"/>
                  </a:cubicBezTo>
                  <a:cubicBezTo>
                    <a:pt x="280" y="54"/>
                    <a:pt x="280" y="54"/>
                    <a:pt x="280" y="54"/>
                  </a:cubicBezTo>
                  <a:cubicBezTo>
                    <a:pt x="280" y="63"/>
                    <a:pt x="284" y="71"/>
                    <a:pt x="294" y="71"/>
                  </a:cubicBezTo>
                  <a:cubicBezTo>
                    <a:pt x="301" y="71"/>
                    <a:pt x="307" y="66"/>
                    <a:pt x="309" y="60"/>
                  </a:cubicBezTo>
                  <a:cubicBezTo>
                    <a:pt x="310" y="60"/>
                    <a:pt x="310" y="60"/>
                    <a:pt x="310" y="60"/>
                  </a:cubicBezTo>
                  <a:cubicBezTo>
                    <a:pt x="310" y="70"/>
                    <a:pt x="310" y="70"/>
                    <a:pt x="310" y="70"/>
                  </a:cubicBezTo>
                  <a:moveTo>
                    <a:pt x="342" y="47"/>
                  </a:moveTo>
                  <a:cubicBezTo>
                    <a:pt x="342" y="34"/>
                    <a:pt x="347" y="29"/>
                    <a:pt x="359" y="29"/>
                  </a:cubicBezTo>
                  <a:cubicBezTo>
                    <a:pt x="359" y="16"/>
                    <a:pt x="359" y="16"/>
                    <a:pt x="359" y="16"/>
                  </a:cubicBezTo>
                  <a:cubicBezTo>
                    <a:pt x="350" y="16"/>
                    <a:pt x="346" y="19"/>
                    <a:pt x="342" y="27"/>
                  </a:cubicBezTo>
                  <a:cubicBezTo>
                    <a:pt x="342" y="27"/>
                    <a:pt x="342" y="27"/>
                    <a:pt x="342" y="27"/>
                  </a:cubicBezTo>
                  <a:cubicBezTo>
                    <a:pt x="342" y="17"/>
                    <a:pt x="342" y="17"/>
                    <a:pt x="342" y="17"/>
                  </a:cubicBezTo>
                  <a:cubicBezTo>
                    <a:pt x="330" y="17"/>
                    <a:pt x="330" y="17"/>
                    <a:pt x="330" y="17"/>
                  </a:cubicBezTo>
                  <a:cubicBezTo>
                    <a:pt x="330" y="70"/>
                    <a:pt x="330" y="70"/>
                    <a:pt x="330" y="70"/>
                  </a:cubicBezTo>
                  <a:cubicBezTo>
                    <a:pt x="342" y="70"/>
                    <a:pt x="342" y="70"/>
                    <a:pt x="342" y="70"/>
                  </a:cubicBezTo>
                  <a:cubicBezTo>
                    <a:pt x="342" y="47"/>
                    <a:pt x="342" y="47"/>
                    <a:pt x="342" y="47"/>
                  </a:cubicBezTo>
                  <a:moveTo>
                    <a:pt x="393" y="33"/>
                  </a:moveTo>
                  <a:cubicBezTo>
                    <a:pt x="373" y="33"/>
                    <a:pt x="373" y="33"/>
                    <a:pt x="373" y="33"/>
                  </a:cubicBezTo>
                  <a:cubicBezTo>
                    <a:pt x="374" y="27"/>
                    <a:pt x="378" y="24"/>
                    <a:pt x="383" y="24"/>
                  </a:cubicBezTo>
                  <a:cubicBezTo>
                    <a:pt x="389" y="24"/>
                    <a:pt x="393" y="27"/>
                    <a:pt x="393" y="33"/>
                  </a:cubicBezTo>
                  <a:moveTo>
                    <a:pt x="404" y="40"/>
                  </a:moveTo>
                  <a:cubicBezTo>
                    <a:pt x="404" y="37"/>
                    <a:pt x="404" y="37"/>
                    <a:pt x="404" y="37"/>
                  </a:cubicBezTo>
                  <a:cubicBezTo>
                    <a:pt x="404" y="24"/>
                    <a:pt x="398" y="16"/>
                    <a:pt x="384" y="16"/>
                  </a:cubicBezTo>
                  <a:cubicBezTo>
                    <a:pt x="369" y="16"/>
                    <a:pt x="362" y="26"/>
                    <a:pt x="362" y="41"/>
                  </a:cubicBezTo>
                  <a:cubicBezTo>
                    <a:pt x="362" y="58"/>
                    <a:pt x="370" y="71"/>
                    <a:pt x="388" y="71"/>
                  </a:cubicBezTo>
                  <a:cubicBezTo>
                    <a:pt x="393" y="71"/>
                    <a:pt x="398" y="70"/>
                    <a:pt x="403" y="69"/>
                  </a:cubicBezTo>
                  <a:cubicBezTo>
                    <a:pt x="403" y="60"/>
                    <a:pt x="403" y="60"/>
                    <a:pt x="403" y="60"/>
                  </a:cubicBezTo>
                  <a:cubicBezTo>
                    <a:pt x="400" y="61"/>
                    <a:pt x="396" y="62"/>
                    <a:pt x="393" y="62"/>
                  </a:cubicBezTo>
                  <a:cubicBezTo>
                    <a:pt x="381" y="62"/>
                    <a:pt x="373" y="51"/>
                    <a:pt x="373" y="40"/>
                  </a:cubicBezTo>
                  <a:cubicBezTo>
                    <a:pt x="404" y="40"/>
                    <a:pt x="404" y="40"/>
                    <a:pt x="404" y="4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2570163" y="2122488"/>
              <a:ext cx="141288" cy="146050"/>
            </a:xfrm>
            <a:custGeom>
              <a:avLst/>
              <a:gdLst>
                <a:gd name="T0" fmla="*/ 0 w 38"/>
                <a:gd name="T1" fmla="*/ 0 h 39"/>
                <a:gd name="T2" fmla="*/ 0 w 38"/>
                <a:gd name="T3" fmla="*/ 9 h 39"/>
                <a:gd name="T4" fmla="*/ 28 w 38"/>
                <a:gd name="T5" fmla="*/ 20 h 39"/>
                <a:gd name="T6" fmla="*/ 0 w 38"/>
                <a:gd name="T7" fmla="*/ 31 h 39"/>
                <a:gd name="T8" fmla="*/ 0 w 38"/>
                <a:gd name="T9" fmla="*/ 39 h 39"/>
                <a:gd name="T10" fmla="*/ 38 w 38"/>
                <a:gd name="T11" fmla="*/ 24 h 39"/>
                <a:gd name="T12" fmla="*/ 38 w 38"/>
                <a:gd name="T13" fmla="*/ 16 h 39"/>
                <a:gd name="T14" fmla="*/ 0 w 38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24" y="18"/>
                    <a:pt x="28" y="20"/>
                  </a:cubicBezTo>
                  <a:cubicBezTo>
                    <a:pt x="24" y="21"/>
                    <a:pt x="0" y="31"/>
                    <a:pt x="0" y="3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5614" y="2569409"/>
            <a:ext cx="4010024" cy="747713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/>
          </p:nvPr>
        </p:nvSpPr>
        <p:spPr>
          <a:xfrm>
            <a:off x="455613" y="3372453"/>
            <a:ext cx="4010024" cy="35067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1500" b="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5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921668" y="650332"/>
            <a:ext cx="3739896" cy="167039"/>
            <a:chOff x="533400" y="3606804"/>
            <a:chExt cx="8077201" cy="481012"/>
          </a:xfrm>
          <a:solidFill>
            <a:schemeClr val="tx1"/>
          </a:solidFill>
        </p:grpSpPr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533400" y="3621091"/>
              <a:ext cx="1577975" cy="450850"/>
            </a:xfrm>
            <a:custGeom>
              <a:avLst/>
              <a:gdLst>
                <a:gd name="T0" fmla="*/ 43 w 421"/>
                <a:gd name="T1" fmla="*/ 70 h 120"/>
                <a:gd name="T2" fmla="*/ 0 w 421"/>
                <a:gd name="T3" fmla="*/ 23 h 120"/>
                <a:gd name="T4" fmla="*/ 49 w 421"/>
                <a:gd name="T5" fmla="*/ 13 h 120"/>
                <a:gd name="T6" fmla="*/ 27 w 421"/>
                <a:gd name="T7" fmla="*/ 40 h 120"/>
                <a:gd name="T8" fmla="*/ 23 w 421"/>
                <a:gd name="T9" fmla="*/ 95 h 120"/>
                <a:gd name="T10" fmla="*/ 2 w 421"/>
                <a:gd name="T11" fmla="*/ 81 h 120"/>
                <a:gd name="T12" fmla="*/ 74 w 421"/>
                <a:gd name="T13" fmla="*/ 79 h 120"/>
                <a:gd name="T14" fmla="*/ 63 w 421"/>
                <a:gd name="T15" fmla="*/ 31 h 120"/>
                <a:gd name="T16" fmla="*/ 83 w 421"/>
                <a:gd name="T17" fmla="*/ 9 h 120"/>
                <a:gd name="T18" fmla="*/ 99 w 421"/>
                <a:gd name="T19" fmla="*/ 38 h 120"/>
                <a:gd name="T20" fmla="*/ 92 w 421"/>
                <a:gd name="T21" fmla="*/ 86 h 120"/>
                <a:gd name="T22" fmla="*/ 99 w 421"/>
                <a:gd name="T23" fmla="*/ 94 h 120"/>
                <a:gd name="T24" fmla="*/ 120 w 421"/>
                <a:gd name="T25" fmla="*/ 31 h 120"/>
                <a:gd name="T26" fmla="*/ 142 w 421"/>
                <a:gd name="T27" fmla="*/ 29 h 120"/>
                <a:gd name="T28" fmla="*/ 120 w 421"/>
                <a:gd name="T29" fmla="*/ 94 h 120"/>
                <a:gd name="T30" fmla="*/ 183 w 421"/>
                <a:gd name="T31" fmla="*/ 94 h 120"/>
                <a:gd name="T32" fmla="*/ 164 w 421"/>
                <a:gd name="T33" fmla="*/ 95 h 120"/>
                <a:gd name="T34" fmla="*/ 183 w 421"/>
                <a:gd name="T35" fmla="*/ 56 h 120"/>
                <a:gd name="T36" fmla="*/ 149 w 421"/>
                <a:gd name="T37" fmla="*/ 47 h 120"/>
                <a:gd name="T38" fmla="*/ 192 w 421"/>
                <a:gd name="T39" fmla="*/ 94 h 120"/>
                <a:gd name="T40" fmla="*/ 178 w 421"/>
                <a:gd name="T41" fmla="*/ 65 h 120"/>
                <a:gd name="T42" fmla="*/ 182 w 421"/>
                <a:gd name="T43" fmla="*/ 77 h 120"/>
                <a:gd name="T44" fmla="*/ 178 w 421"/>
                <a:gd name="T45" fmla="*/ 65 h 120"/>
                <a:gd name="T46" fmla="*/ 218 w 421"/>
                <a:gd name="T47" fmla="*/ 79 h 120"/>
                <a:gd name="T48" fmla="*/ 207 w 421"/>
                <a:gd name="T49" fmla="*/ 31 h 120"/>
                <a:gd name="T50" fmla="*/ 226 w 421"/>
                <a:gd name="T51" fmla="*/ 9 h 120"/>
                <a:gd name="T52" fmla="*/ 243 w 421"/>
                <a:gd name="T53" fmla="*/ 38 h 120"/>
                <a:gd name="T54" fmla="*/ 235 w 421"/>
                <a:gd name="T55" fmla="*/ 86 h 120"/>
                <a:gd name="T56" fmla="*/ 243 w 421"/>
                <a:gd name="T57" fmla="*/ 94 h 120"/>
                <a:gd name="T58" fmla="*/ 252 w 421"/>
                <a:gd name="T59" fmla="*/ 59 h 120"/>
                <a:gd name="T60" fmla="*/ 298 w 421"/>
                <a:gd name="T61" fmla="*/ 56 h 120"/>
                <a:gd name="T62" fmla="*/ 284 w 421"/>
                <a:gd name="T63" fmla="*/ 86 h 120"/>
                <a:gd name="T64" fmla="*/ 297 w 421"/>
                <a:gd name="T65" fmla="*/ 94 h 120"/>
                <a:gd name="T66" fmla="*/ 262 w 421"/>
                <a:gd name="T67" fmla="*/ 49 h 120"/>
                <a:gd name="T68" fmla="*/ 347 w 421"/>
                <a:gd name="T69" fmla="*/ 81 h 120"/>
                <a:gd name="T70" fmla="*/ 309 w 421"/>
                <a:gd name="T71" fmla="*/ 61 h 120"/>
                <a:gd name="T72" fmla="*/ 347 w 421"/>
                <a:gd name="T73" fmla="*/ 40 h 120"/>
                <a:gd name="T74" fmla="*/ 356 w 421"/>
                <a:gd name="T75" fmla="*/ 94 h 120"/>
                <a:gd name="T76" fmla="*/ 311 w 421"/>
                <a:gd name="T77" fmla="*/ 110 h 120"/>
                <a:gd name="T78" fmla="*/ 347 w 421"/>
                <a:gd name="T79" fmla="*/ 81 h 120"/>
                <a:gd name="T80" fmla="*/ 332 w 421"/>
                <a:gd name="T81" fmla="*/ 36 h 120"/>
                <a:gd name="T82" fmla="*/ 347 w 421"/>
                <a:gd name="T83" fmla="*/ 61 h 120"/>
                <a:gd name="T84" fmla="*/ 367 w 421"/>
                <a:gd name="T85" fmla="*/ 31 h 120"/>
                <a:gd name="T86" fmla="*/ 394 w 421"/>
                <a:gd name="T87" fmla="*/ 79 h 120"/>
                <a:gd name="T88" fmla="*/ 390 w 421"/>
                <a:gd name="T89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1" h="120">
                  <a:moveTo>
                    <a:pt x="2" y="81"/>
                  </a:moveTo>
                  <a:cubicBezTo>
                    <a:pt x="9" y="85"/>
                    <a:pt x="16" y="86"/>
                    <a:pt x="23" y="86"/>
                  </a:cubicBezTo>
                  <a:cubicBezTo>
                    <a:pt x="34" y="86"/>
                    <a:pt x="43" y="81"/>
                    <a:pt x="43" y="70"/>
                  </a:cubicBezTo>
                  <a:cubicBezTo>
                    <a:pt x="43" y="59"/>
                    <a:pt x="36" y="56"/>
                    <a:pt x="29" y="52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1" y="41"/>
                    <a:pt x="0" y="36"/>
                    <a:pt x="0" y="23"/>
                  </a:cubicBezTo>
                  <a:cubicBezTo>
                    <a:pt x="0" y="7"/>
                    <a:pt x="14" y="0"/>
                    <a:pt x="31" y="0"/>
                  </a:cubicBezTo>
                  <a:cubicBezTo>
                    <a:pt x="36" y="0"/>
                    <a:pt x="43" y="2"/>
                    <a:pt x="49" y="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3" y="11"/>
                    <a:pt x="36" y="9"/>
                    <a:pt x="29" y="9"/>
                  </a:cubicBezTo>
                  <a:cubicBezTo>
                    <a:pt x="20" y="9"/>
                    <a:pt x="13" y="13"/>
                    <a:pt x="13" y="23"/>
                  </a:cubicBezTo>
                  <a:cubicBezTo>
                    <a:pt x="13" y="31"/>
                    <a:pt x="20" y="36"/>
                    <a:pt x="27" y="40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7" y="50"/>
                    <a:pt x="56" y="56"/>
                    <a:pt x="56" y="68"/>
                  </a:cubicBezTo>
                  <a:cubicBezTo>
                    <a:pt x="56" y="88"/>
                    <a:pt x="40" y="95"/>
                    <a:pt x="23" y="95"/>
                  </a:cubicBezTo>
                  <a:cubicBezTo>
                    <a:pt x="16" y="95"/>
                    <a:pt x="9" y="94"/>
                    <a:pt x="2" y="92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2" y="81"/>
                    <a:pt x="2" y="81"/>
                    <a:pt x="2" y="81"/>
                  </a:cubicBezTo>
                  <a:close/>
                  <a:moveTo>
                    <a:pt x="99" y="94"/>
                  </a:moveTo>
                  <a:cubicBezTo>
                    <a:pt x="95" y="95"/>
                    <a:pt x="94" y="95"/>
                    <a:pt x="90" y="95"/>
                  </a:cubicBezTo>
                  <a:cubicBezTo>
                    <a:pt x="79" y="95"/>
                    <a:pt x="74" y="90"/>
                    <a:pt x="74" y="79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83"/>
                    <a:pt x="85" y="86"/>
                    <a:pt x="92" y="86"/>
                  </a:cubicBezTo>
                  <a:cubicBezTo>
                    <a:pt x="95" y="86"/>
                    <a:pt x="97" y="86"/>
                    <a:pt x="99" y="86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9" y="94"/>
                    <a:pt x="99" y="94"/>
                  </a:cubicBezTo>
                  <a:close/>
                  <a:moveTo>
                    <a:pt x="112" y="94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4" y="32"/>
                    <a:pt x="131" y="29"/>
                    <a:pt x="142" y="29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26" y="38"/>
                    <a:pt x="120" y="54"/>
                    <a:pt x="120" y="67"/>
                  </a:cubicBezTo>
                  <a:cubicBezTo>
                    <a:pt x="120" y="94"/>
                    <a:pt x="120" y="94"/>
                    <a:pt x="120" y="94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2" y="94"/>
                    <a:pt x="112" y="94"/>
                    <a:pt x="112" y="94"/>
                  </a:cubicBezTo>
                  <a:close/>
                  <a:moveTo>
                    <a:pt x="183" y="94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83" y="85"/>
                    <a:pt x="183" y="85"/>
                    <a:pt x="183" y="85"/>
                  </a:cubicBezTo>
                  <a:cubicBezTo>
                    <a:pt x="180" y="92"/>
                    <a:pt x="171" y="95"/>
                    <a:pt x="164" y="95"/>
                  </a:cubicBezTo>
                  <a:cubicBezTo>
                    <a:pt x="153" y="95"/>
                    <a:pt x="147" y="88"/>
                    <a:pt x="147" y="77"/>
                  </a:cubicBezTo>
                  <a:cubicBezTo>
                    <a:pt x="147" y="63"/>
                    <a:pt x="164" y="58"/>
                    <a:pt x="183" y="58"/>
                  </a:cubicBezTo>
                  <a:cubicBezTo>
                    <a:pt x="183" y="56"/>
                    <a:pt x="183" y="56"/>
                    <a:pt x="183" y="56"/>
                  </a:cubicBezTo>
                  <a:cubicBezTo>
                    <a:pt x="183" y="47"/>
                    <a:pt x="183" y="36"/>
                    <a:pt x="171" y="36"/>
                  </a:cubicBezTo>
                  <a:cubicBezTo>
                    <a:pt x="164" y="36"/>
                    <a:pt x="160" y="38"/>
                    <a:pt x="158" y="47"/>
                  </a:cubicBezTo>
                  <a:cubicBezTo>
                    <a:pt x="149" y="47"/>
                    <a:pt x="149" y="47"/>
                    <a:pt x="149" y="47"/>
                  </a:cubicBezTo>
                  <a:cubicBezTo>
                    <a:pt x="149" y="34"/>
                    <a:pt x="160" y="29"/>
                    <a:pt x="171" y="29"/>
                  </a:cubicBezTo>
                  <a:cubicBezTo>
                    <a:pt x="185" y="29"/>
                    <a:pt x="192" y="34"/>
                    <a:pt x="192" y="49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94"/>
                    <a:pt x="183" y="94"/>
                    <a:pt x="183" y="94"/>
                  </a:cubicBezTo>
                  <a:close/>
                  <a:moveTo>
                    <a:pt x="178" y="65"/>
                  </a:moveTo>
                  <a:cubicBezTo>
                    <a:pt x="171" y="65"/>
                    <a:pt x="158" y="68"/>
                    <a:pt x="158" y="77"/>
                  </a:cubicBezTo>
                  <a:cubicBezTo>
                    <a:pt x="158" y="83"/>
                    <a:pt x="162" y="86"/>
                    <a:pt x="167" y="86"/>
                  </a:cubicBezTo>
                  <a:cubicBezTo>
                    <a:pt x="173" y="86"/>
                    <a:pt x="178" y="83"/>
                    <a:pt x="182" y="77"/>
                  </a:cubicBezTo>
                  <a:cubicBezTo>
                    <a:pt x="183" y="72"/>
                    <a:pt x="183" y="70"/>
                    <a:pt x="183" y="65"/>
                  </a:cubicBezTo>
                  <a:cubicBezTo>
                    <a:pt x="178" y="65"/>
                    <a:pt x="178" y="65"/>
                    <a:pt x="178" y="65"/>
                  </a:cubicBezTo>
                  <a:cubicBezTo>
                    <a:pt x="178" y="65"/>
                    <a:pt x="178" y="65"/>
                    <a:pt x="178" y="65"/>
                  </a:cubicBezTo>
                  <a:close/>
                  <a:moveTo>
                    <a:pt x="243" y="94"/>
                  </a:moveTo>
                  <a:cubicBezTo>
                    <a:pt x="239" y="95"/>
                    <a:pt x="237" y="95"/>
                    <a:pt x="234" y="95"/>
                  </a:cubicBezTo>
                  <a:cubicBezTo>
                    <a:pt x="223" y="95"/>
                    <a:pt x="218" y="90"/>
                    <a:pt x="218" y="7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07" y="38"/>
                    <a:pt x="207" y="38"/>
                    <a:pt x="207" y="38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18" y="31"/>
                    <a:pt x="218" y="31"/>
                    <a:pt x="218" y="31"/>
                  </a:cubicBezTo>
                  <a:cubicBezTo>
                    <a:pt x="218" y="14"/>
                    <a:pt x="218" y="14"/>
                    <a:pt x="218" y="14"/>
                  </a:cubicBezTo>
                  <a:cubicBezTo>
                    <a:pt x="226" y="9"/>
                    <a:pt x="226" y="9"/>
                    <a:pt x="226" y="9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43" y="31"/>
                    <a:pt x="243" y="31"/>
                    <a:pt x="243" y="31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26" y="38"/>
                    <a:pt x="226" y="38"/>
                    <a:pt x="226" y="38"/>
                  </a:cubicBezTo>
                  <a:cubicBezTo>
                    <a:pt x="226" y="77"/>
                    <a:pt x="226" y="77"/>
                    <a:pt x="226" y="77"/>
                  </a:cubicBezTo>
                  <a:cubicBezTo>
                    <a:pt x="226" y="83"/>
                    <a:pt x="228" y="86"/>
                    <a:pt x="235" y="86"/>
                  </a:cubicBezTo>
                  <a:cubicBezTo>
                    <a:pt x="239" y="86"/>
                    <a:pt x="239" y="86"/>
                    <a:pt x="243" y="86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43" y="94"/>
                    <a:pt x="243" y="94"/>
                    <a:pt x="243" y="94"/>
                  </a:cubicBezTo>
                  <a:close/>
                  <a:moveTo>
                    <a:pt x="297" y="94"/>
                  </a:moveTo>
                  <a:cubicBezTo>
                    <a:pt x="291" y="94"/>
                    <a:pt x="288" y="95"/>
                    <a:pt x="282" y="95"/>
                  </a:cubicBezTo>
                  <a:cubicBezTo>
                    <a:pt x="261" y="95"/>
                    <a:pt x="252" y="81"/>
                    <a:pt x="252" y="59"/>
                  </a:cubicBezTo>
                  <a:cubicBezTo>
                    <a:pt x="252" y="43"/>
                    <a:pt x="257" y="29"/>
                    <a:pt x="275" y="29"/>
                  </a:cubicBezTo>
                  <a:cubicBezTo>
                    <a:pt x="291" y="29"/>
                    <a:pt x="298" y="38"/>
                    <a:pt x="298" y="52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61" y="59"/>
                    <a:pt x="261" y="59"/>
                    <a:pt x="261" y="59"/>
                  </a:cubicBezTo>
                  <a:cubicBezTo>
                    <a:pt x="261" y="74"/>
                    <a:pt x="268" y="86"/>
                    <a:pt x="284" y="86"/>
                  </a:cubicBezTo>
                  <a:cubicBezTo>
                    <a:pt x="288" y="86"/>
                    <a:pt x="293" y="86"/>
                    <a:pt x="297" y="85"/>
                  </a:cubicBezTo>
                  <a:cubicBezTo>
                    <a:pt x="297" y="94"/>
                    <a:pt x="297" y="94"/>
                    <a:pt x="297" y="94"/>
                  </a:cubicBezTo>
                  <a:cubicBezTo>
                    <a:pt x="297" y="94"/>
                    <a:pt x="297" y="94"/>
                    <a:pt x="297" y="94"/>
                  </a:cubicBezTo>
                  <a:close/>
                  <a:moveTo>
                    <a:pt x="288" y="49"/>
                  </a:moveTo>
                  <a:cubicBezTo>
                    <a:pt x="288" y="41"/>
                    <a:pt x="282" y="36"/>
                    <a:pt x="275" y="36"/>
                  </a:cubicBezTo>
                  <a:cubicBezTo>
                    <a:pt x="268" y="36"/>
                    <a:pt x="264" y="41"/>
                    <a:pt x="262" y="49"/>
                  </a:cubicBezTo>
                  <a:cubicBezTo>
                    <a:pt x="288" y="49"/>
                    <a:pt x="288" y="49"/>
                    <a:pt x="288" y="49"/>
                  </a:cubicBezTo>
                  <a:cubicBezTo>
                    <a:pt x="288" y="49"/>
                    <a:pt x="288" y="49"/>
                    <a:pt x="288" y="49"/>
                  </a:cubicBezTo>
                  <a:close/>
                  <a:moveTo>
                    <a:pt x="347" y="81"/>
                  </a:moveTo>
                  <a:cubicBezTo>
                    <a:pt x="347" y="81"/>
                    <a:pt x="347" y="81"/>
                    <a:pt x="347" y="81"/>
                  </a:cubicBezTo>
                  <a:cubicBezTo>
                    <a:pt x="343" y="88"/>
                    <a:pt x="338" y="94"/>
                    <a:pt x="329" y="94"/>
                  </a:cubicBezTo>
                  <a:cubicBezTo>
                    <a:pt x="313" y="94"/>
                    <a:pt x="309" y="76"/>
                    <a:pt x="309" y="61"/>
                  </a:cubicBezTo>
                  <a:cubicBezTo>
                    <a:pt x="309" y="49"/>
                    <a:pt x="313" y="29"/>
                    <a:pt x="331" y="29"/>
                  </a:cubicBezTo>
                  <a:cubicBezTo>
                    <a:pt x="338" y="29"/>
                    <a:pt x="345" y="32"/>
                    <a:pt x="347" y="40"/>
                  </a:cubicBezTo>
                  <a:cubicBezTo>
                    <a:pt x="347" y="40"/>
                    <a:pt x="347" y="40"/>
                    <a:pt x="347" y="40"/>
                  </a:cubicBezTo>
                  <a:cubicBezTo>
                    <a:pt x="347" y="31"/>
                    <a:pt x="347" y="31"/>
                    <a:pt x="347" y="31"/>
                  </a:cubicBezTo>
                  <a:cubicBezTo>
                    <a:pt x="356" y="31"/>
                    <a:pt x="356" y="31"/>
                    <a:pt x="356" y="31"/>
                  </a:cubicBezTo>
                  <a:cubicBezTo>
                    <a:pt x="356" y="94"/>
                    <a:pt x="356" y="94"/>
                    <a:pt x="356" y="94"/>
                  </a:cubicBezTo>
                  <a:cubicBezTo>
                    <a:pt x="356" y="112"/>
                    <a:pt x="347" y="120"/>
                    <a:pt x="329" y="120"/>
                  </a:cubicBezTo>
                  <a:cubicBezTo>
                    <a:pt x="324" y="120"/>
                    <a:pt x="318" y="120"/>
                    <a:pt x="311" y="119"/>
                  </a:cubicBezTo>
                  <a:cubicBezTo>
                    <a:pt x="311" y="110"/>
                    <a:pt x="311" y="110"/>
                    <a:pt x="311" y="110"/>
                  </a:cubicBezTo>
                  <a:cubicBezTo>
                    <a:pt x="316" y="112"/>
                    <a:pt x="322" y="113"/>
                    <a:pt x="327" y="113"/>
                  </a:cubicBezTo>
                  <a:cubicBezTo>
                    <a:pt x="341" y="113"/>
                    <a:pt x="347" y="106"/>
                    <a:pt x="347" y="92"/>
                  </a:cubicBezTo>
                  <a:cubicBezTo>
                    <a:pt x="347" y="81"/>
                    <a:pt x="347" y="81"/>
                    <a:pt x="347" y="81"/>
                  </a:cubicBezTo>
                  <a:cubicBezTo>
                    <a:pt x="347" y="81"/>
                    <a:pt x="347" y="81"/>
                    <a:pt x="347" y="81"/>
                  </a:cubicBezTo>
                  <a:close/>
                  <a:moveTo>
                    <a:pt x="347" y="61"/>
                  </a:moveTo>
                  <a:cubicBezTo>
                    <a:pt x="347" y="52"/>
                    <a:pt x="343" y="36"/>
                    <a:pt x="332" y="36"/>
                  </a:cubicBezTo>
                  <a:cubicBezTo>
                    <a:pt x="320" y="36"/>
                    <a:pt x="318" y="54"/>
                    <a:pt x="318" y="63"/>
                  </a:cubicBezTo>
                  <a:cubicBezTo>
                    <a:pt x="318" y="70"/>
                    <a:pt x="320" y="86"/>
                    <a:pt x="331" y="86"/>
                  </a:cubicBezTo>
                  <a:cubicBezTo>
                    <a:pt x="343" y="86"/>
                    <a:pt x="347" y="70"/>
                    <a:pt x="347" y="61"/>
                  </a:cubicBezTo>
                  <a:close/>
                  <a:moveTo>
                    <a:pt x="381" y="119"/>
                  </a:moveTo>
                  <a:cubicBezTo>
                    <a:pt x="390" y="94"/>
                    <a:pt x="390" y="94"/>
                    <a:pt x="390" y="94"/>
                  </a:cubicBezTo>
                  <a:cubicBezTo>
                    <a:pt x="367" y="31"/>
                    <a:pt x="367" y="31"/>
                    <a:pt x="367" y="31"/>
                  </a:cubicBezTo>
                  <a:cubicBezTo>
                    <a:pt x="376" y="31"/>
                    <a:pt x="376" y="31"/>
                    <a:pt x="376" y="31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412" y="31"/>
                    <a:pt x="412" y="31"/>
                    <a:pt x="412" y="31"/>
                  </a:cubicBezTo>
                  <a:cubicBezTo>
                    <a:pt x="421" y="31"/>
                    <a:pt x="421" y="31"/>
                    <a:pt x="421" y="31"/>
                  </a:cubicBezTo>
                  <a:cubicBezTo>
                    <a:pt x="390" y="119"/>
                    <a:pt x="390" y="119"/>
                    <a:pt x="390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81" y="119"/>
                    <a:pt x="381" y="119"/>
                    <a:pt x="381" y="1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2276475" y="3606804"/>
              <a:ext cx="30163" cy="481012"/>
            </a:xfrm>
            <a:custGeom>
              <a:avLst/>
              <a:gdLst>
                <a:gd name="T0" fmla="*/ 0 w 8"/>
                <a:gd name="T1" fmla="*/ 128 h 128"/>
                <a:gd name="T2" fmla="*/ 0 w 8"/>
                <a:gd name="T3" fmla="*/ 0 h 128"/>
                <a:gd name="T4" fmla="*/ 8 w 8"/>
                <a:gd name="T5" fmla="*/ 0 h 128"/>
                <a:gd name="T6" fmla="*/ 8 w 8"/>
                <a:gd name="T7" fmla="*/ 128 h 128"/>
                <a:gd name="T8" fmla="*/ 0 w 8"/>
                <a:gd name="T9" fmla="*/ 128 h 128"/>
                <a:gd name="T10" fmla="*/ 0 w 8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2509838" y="3629029"/>
              <a:ext cx="1169988" cy="442912"/>
            </a:xfrm>
            <a:custGeom>
              <a:avLst/>
              <a:gdLst>
                <a:gd name="T0" fmla="*/ 0 w 312"/>
                <a:gd name="T1" fmla="*/ 0 h 118"/>
                <a:gd name="T2" fmla="*/ 59 w 312"/>
                <a:gd name="T3" fmla="*/ 45 h 118"/>
                <a:gd name="T4" fmla="*/ 18 w 312"/>
                <a:gd name="T5" fmla="*/ 92 h 118"/>
                <a:gd name="T6" fmla="*/ 0 w 312"/>
                <a:gd name="T7" fmla="*/ 92 h 118"/>
                <a:gd name="T8" fmla="*/ 34 w 312"/>
                <a:gd name="T9" fmla="*/ 81 h 118"/>
                <a:gd name="T10" fmla="*/ 32 w 312"/>
                <a:gd name="T11" fmla="*/ 11 h 118"/>
                <a:gd name="T12" fmla="*/ 10 w 312"/>
                <a:gd name="T13" fmla="*/ 9 h 118"/>
                <a:gd name="T14" fmla="*/ 18 w 312"/>
                <a:gd name="T15" fmla="*/ 83 h 118"/>
                <a:gd name="T16" fmla="*/ 73 w 312"/>
                <a:gd name="T17" fmla="*/ 11 h 118"/>
                <a:gd name="T18" fmla="*/ 86 w 312"/>
                <a:gd name="T19" fmla="*/ 0 h 118"/>
                <a:gd name="T20" fmla="*/ 73 w 312"/>
                <a:gd name="T21" fmla="*/ 11 h 118"/>
                <a:gd name="T22" fmla="*/ 75 w 312"/>
                <a:gd name="T23" fmla="*/ 92 h 118"/>
                <a:gd name="T24" fmla="*/ 84 w 312"/>
                <a:gd name="T25" fmla="*/ 29 h 118"/>
                <a:gd name="T26" fmla="*/ 75 w 312"/>
                <a:gd name="T27" fmla="*/ 92 h 118"/>
                <a:gd name="T28" fmla="*/ 140 w 312"/>
                <a:gd name="T29" fmla="*/ 79 h 118"/>
                <a:gd name="T30" fmla="*/ 122 w 312"/>
                <a:gd name="T31" fmla="*/ 92 h 118"/>
                <a:gd name="T32" fmla="*/ 122 w 312"/>
                <a:gd name="T33" fmla="*/ 27 h 118"/>
                <a:gd name="T34" fmla="*/ 140 w 312"/>
                <a:gd name="T35" fmla="*/ 38 h 118"/>
                <a:gd name="T36" fmla="*/ 149 w 312"/>
                <a:gd name="T37" fmla="*/ 29 h 118"/>
                <a:gd name="T38" fmla="*/ 122 w 312"/>
                <a:gd name="T39" fmla="*/ 118 h 118"/>
                <a:gd name="T40" fmla="*/ 104 w 312"/>
                <a:gd name="T41" fmla="*/ 108 h 118"/>
                <a:gd name="T42" fmla="*/ 140 w 312"/>
                <a:gd name="T43" fmla="*/ 90 h 118"/>
                <a:gd name="T44" fmla="*/ 140 w 312"/>
                <a:gd name="T45" fmla="*/ 79 h 118"/>
                <a:gd name="T46" fmla="*/ 124 w 312"/>
                <a:gd name="T47" fmla="*/ 34 h 118"/>
                <a:gd name="T48" fmla="*/ 124 w 312"/>
                <a:gd name="T49" fmla="*/ 84 h 118"/>
                <a:gd name="T50" fmla="*/ 167 w 312"/>
                <a:gd name="T51" fmla="*/ 11 h 118"/>
                <a:gd name="T52" fmla="*/ 179 w 312"/>
                <a:gd name="T53" fmla="*/ 0 h 118"/>
                <a:gd name="T54" fmla="*/ 167 w 312"/>
                <a:gd name="T55" fmla="*/ 11 h 118"/>
                <a:gd name="T56" fmla="*/ 168 w 312"/>
                <a:gd name="T57" fmla="*/ 92 h 118"/>
                <a:gd name="T58" fmla="*/ 177 w 312"/>
                <a:gd name="T59" fmla="*/ 29 h 118"/>
                <a:gd name="T60" fmla="*/ 168 w 312"/>
                <a:gd name="T61" fmla="*/ 92 h 118"/>
                <a:gd name="T62" fmla="*/ 230 w 312"/>
                <a:gd name="T63" fmla="*/ 92 h 118"/>
                <a:gd name="T64" fmla="*/ 203 w 312"/>
                <a:gd name="T65" fmla="*/ 77 h 118"/>
                <a:gd name="T66" fmla="*/ 194 w 312"/>
                <a:gd name="T67" fmla="*/ 36 h 118"/>
                <a:gd name="T68" fmla="*/ 203 w 312"/>
                <a:gd name="T69" fmla="*/ 29 h 118"/>
                <a:gd name="T70" fmla="*/ 212 w 312"/>
                <a:gd name="T71" fmla="*/ 7 h 118"/>
                <a:gd name="T72" fmla="*/ 230 w 312"/>
                <a:gd name="T73" fmla="*/ 29 h 118"/>
                <a:gd name="T74" fmla="*/ 212 w 312"/>
                <a:gd name="T75" fmla="*/ 36 h 118"/>
                <a:gd name="T76" fmla="*/ 222 w 312"/>
                <a:gd name="T77" fmla="*/ 84 h 118"/>
                <a:gd name="T78" fmla="*/ 230 w 312"/>
                <a:gd name="T79" fmla="*/ 92 h 118"/>
                <a:gd name="T80" fmla="*/ 273 w 312"/>
                <a:gd name="T81" fmla="*/ 92 h 118"/>
                <a:gd name="T82" fmla="*/ 273 w 312"/>
                <a:gd name="T83" fmla="*/ 83 h 118"/>
                <a:gd name="T84" fmla="*/ 237 w 312"/>
                <a:gd name="T85" fmla="*/ 75 h 118"/>
                <a:gd name="T86" fmla="*/ 273 w 312"/>
                <a:gd name="T87" fmla="*/ 54 h 118"/>
                <a:gd name="T88" fmla="*/ 247 w 312"/>
                <a:gd name="T89" fmla="*/ 45 h 118"/>
                <a:gd name="T90" fmla="*/ 260 w 312"/>
                <a:gd name="T91" fmla="*/ 27 h 118"/>
                <a:gd name="T92" fmla="*/ 282 w 312"/>
                <a:gd name="T93" fmla="*/ 92 h 118"/>
                <a:gd name="T94" fmla="*/ 273 w 312"/>
                <a:gd name="T95" fmla="*/ 92 h 118"/>
                <a:gd name="T96" fmla="*/ 247 w 312"/>
                <a:gd name="T97" fmla="*/ 75 h 118"/>
                <a:gd name="T98" fmla="*/ 271 w 312"/>
                <a:gd name="T99" fmla="*/ 75 h 118"/>
                <a:gd name="T100" fmla="*/ 267 w 312"/>
                <a:gd name="T101" fmla="*/ 63 h 118"/>
                <a:gd name="T102" fmla="*/ 303 w 312"/>
                <a:gd name="T103" fmla="*/ 92 h 118"/>
                <a:gd name="T104" fmla="*/ 312 w 312"/>
                <a:gd name="T105" fmla="*/ 0 h 118"/>
                <a:gd name="T106" fmla="*/ 303 w 312"/>
                <a:gd name="T107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2" h="118">
                  <a:moveTo>
                    <a:pt x="0" y="9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50" y="0"/>
                    <a:pt x="59" y="18"/>
                    <a:pt x="59" y="45"/>
                  </a:cubicBezTo>
                  <a:cubicBezTo>
                    <a:pt x="59" y="63"/>
                    <a:pt x="55" y="83"/>
                    <a:pt x="37" y="88"/>
                  </a:cubicBezTo>
                  <a:cubicBezTo>
                    <a:pt x="30" y="92"/>
                    <a:pt x="25" y="92"/>
                    <a:pt x="18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2"/>
                    <a:pt x="0" y="92"/>
                  </a:cubicBezTo>
                  <a:close/>
                  <a:moveTo>
                    <a:pt x="18" y="83"/>
                  </a:moveTo>
                  <a:cubicBezTo>
                    <a:pt x="23" y="83"/>
                    <a:pt x="28" y="83"/>
                    <a:pt x="34" y="81"/>
                  </a:cubicBezTo>
                  <a:cubicBezTo>
                    <a:pt x="46" y="74"/>
                    <a:pt x="48" y="57"/>
                    <a:pt x="48" y="45"/>
                  </a:cubicBezTo>
                  <a:cubicBezTo>
                    <a:pt x="48" y="32"/>
                    <a:pt x="46" y="16"/>
                    <a:pt x="32" y="11"/>
                  </a:cubicBezTo>
                  <a:cubicBezTo>
                    <a:pt x="26" y="9"/>
                    <a:pt x="21" y="9"/>
                    <a:pt x="16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lose/>
                  <a:moveTo>
                    <a:pt x="73" y="11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close/>
                  <a:moveTo>
                    <a:pt x="75" y="92"/>
                  </a:moveTo>
                  <a:cubicBezTo>
                    <a:pt x="75" y="29"/>
                    <a:pt x="75" y="29"/>
                    <a:pt x="75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75" y="92"/>
                    <a:pt x="75" y="92"/>
                    <a:pt x="75" y="92"/>
                  </a:cubicBezTo>
                  <a:cubicBezTo>
                    <a:pt x="75" y="92"/>
                    <a:pt x="75" y="92"/>
                    <a:pt x="75" y="92"/>
                  </a:cubicBezTo>
                  <a:close/>
                  <a:moveTo>
                    <a:pt x="140" y="79"/>
                  </a:moveTo>
                  <a:cubicBezTo>
                    <a:pt x="140" y="79"/>
                    <a:pt x="140" y="79"/>
                    <a:pt x="140" y="79"/>
                  </a:cubicBezTo>
                  <a:cubicBezTo>
                    <a:pt x="136" y="86"/>
                    <a:pt x="131" y="92"/>
                    <a:pt x="122" y="92"/>
                  </a:cubicBezTo>
                  <a:cubicBezTo>
                    <a:pt x="106" y="92"/>
                    <a:pt x="100" y="74"/>
                    <a:pt x="100" y="59"/>
                  </a:cubicBezTo>
                  <a:cubicBezTo>
                    <a:pt x="100" y="47"/>
                    <a:pt x="106" y="27"/>
                    <a:pt x="122" y="27"/>
                  </a:cubicBezTo>
                  <a:cubicBezTo>
                    <a:pt x="131" y="27"/>
                    <a:pt x="136" y="30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29"/>
                    <a:pt x="140" y="29"/>
                    <a:pt x="140" y="29"/>
                  </a:cubicBezTo>
                  <a:cubicBezTo>
                    <a:pt x="149" y="29"/>
                    <a:pt x="149" y="29"/>
                    <a:pt x="149" y="29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49" y="110"/>
                    <a:pt x="140" y="118"/>
                    <a:pt x="122" y="118"/>
                  </a:cubicBezTo>
                  <a:cubicBezTo>
                    <a:pt x="115" y="118"/>
                    <a:pt x="111" y="118"/>
                    <a:pt x="104" y="117"/>
                  </a:cubicBezTo>
                  <a:cubicBezTo>
                    <a:pt x="104" y="108"/>
                    <a:pt x="104" y="108"/>
                    <a:pt x="104" y="108"/>
                  </a:cubicBezTo>
                  <a:cubicBezTo>
                    <a:pt x="109" y="110"/>
                    <a:pt x="115" y="111"/>
                    <a:pt x="120" y="111"/>
                  </a:cubicBezTo>
                  <a:cubicBezTo>
                    <a:pt x="134" y="111"/>
                    <a:pt x="140" y="104"/>
                    <a:pt x="140" y="90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79"/>
                    <a:pt x="140" y="79"/>
                    <a:pt x="140" y="79"/>
                  </a:cubicBezTo>
                  <a:close/>
                  <a:moveTo>
                    <a:pt x="140" y="59"/>
                  </a:moveTo>
                  <a:cubicBezTo>
                    <a:pt x="140" y="50"/>
                    <a:pt x="136" y="34"/>
                    <a:pt x="124" y="34"/>
                  </a:cubicBezTo>
                  <a:cubicBezTo>
                    <a:pt x="113" y="34"/>
                    <a:pt x="111" y="52"/>
                    <a:pt x="111" y="61"/>
                  </a:cubicBezTo>
                  <a:cubicBezTo>
                    <a:pt x="111" y="68"/>
                    <a:pt x="113" y="84"/>
                    <a:pt x="124" y="84"/>
                  </a:cubicBezTo>
                  <a:cubicBezTo>
                    <a:pt x="136" y="84"/>
                    <a:pt x="140" y="68"/>
                    <a:pt x="140" y="59"/>
                  </a:cubicBezTo>
                  <a:close/>
                  <a:moveTo>
                    <a:pt x="167" y="11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1"/>
                    <a:pt x="179" y="11"/>
                    <a:pt x="179" y="11"/>
                  </a:cubicBezTo>
                  <a:cubicBezTo>
                    <a:pt x="167" y="11"/>
                    <a:pt x="167" y="11"/>
                    <a:pt x="167" y="11"/>
                  </a:cubicBezTo>
                  <a:cubicBezTo>
                    <a:pt x="167" y="11"/>
                    <a:pt x="167" y="11"/>
                    <a:pt x="167" y="11"/>
                  </a:cubicBezTo>
                  <a:close/>
                  <a:moveTo>
                    <a:pt x="168" y="92"/>
                  </a:moveTo>
                  <a:cubicBezTo>
                    <a:pt x="168" y="29"/>
                    <a:pt x="168" y="29"/>
                    <a:pt x="168" y="29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77" y="92"/>
                    <a:pt x="177" y="92"/>
                    <a:pt x="177" y="92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68" y="92"/>
                    <a:pt x="168" y="92"/>
                  </a:cubicBezTo>
                  <a:close/>
                  <a:moveTo>
                    <a:pt x="230" y="92"/>
                  </a:moveTo>
                  <a:cubicBezTo>
                    <a:pt x="226" y="93"/>
                    <a:pt x="224" y="93"/>
                    <a:pt x="221" y="93"/>
                  </a:cubicBezTo>
                  <a:cubicBezTo>
                    <a:pt x="208" y="93"/>
                    <a:pt x="203" y="88"/>
                    <a:pt x="203" y="77"/>
                  </a:cubicBezTo>
                  <a:cubicBezTo>
                    <a:pt x="203" y="36"/>
                    <a:pt x="203" y="36"/>
                    <a:pt x="203" y="36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203" y="29"/>
                    <a:pt x="203" y="29"/>
                    <a:pt x="203" y="29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30" y="29"/>
                    <a:pt x="230" y="29"/>
                    <a:pt x="230" y="29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12" y="36"/>
                    <a:pt x="212" y="36"/>
                    <a:pt x="212" y="36"/>
                  </a:cubicBezTo>
                  <a:cubicBezTo>
                    <a:pt x="212" y="75"/>
                    <a:pt x="212" y="75"/>
                    <a:pt x="212" y="75"/>
                  </a:cubicBezTo>
                  <a:cubicBezTo>
                    <a:pt x="212" y="81"/>
                    <a:pt x="215" y="84"/>
                    <a:pt x="222" y="84"/>
                  </a:cubicBezTo>
                  <a:cubicBezTo>
                    <a:pt x="226" y="84"/>
                    <a:pt x="226" y="84"/>
                    <a:pt x="230" y="84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30" y="92"/>
                    <a:pt x="230" y="92"/>
                    <a:pt x="230" y="92"/>
                  </a:cubicBezTo>
                  <a:close/>
                  <a:moveTo>
                    <a:pt x="273" y="92"/>
                  </a:moveTo>
                  <a:cubicBezTo>
                    <a:pt x="273" y="83"/>
                    <a:pt x="273" y="83"/>
                    <a:pt x="273" y="83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69" y="90"/>
                    <a:pt x="260" y="93"/>
                    <a:pt x="253" y="93"/>
                  </a:cubicBezTo>
                  <a:cubicBezTo>
                    <a:pt x="242" y="93"/>
                    <a:pt x="237" y="86"/>
                    <a:pt x="237" y="75"/>
                  </a:cubicBezTo>
                  <a:cubicBezTo>
                    <a:pt x="237" y="61"/>
                    <a:pt x="253" y="56"/>
                    <a:pt x="273" y="56"/>
                  </a:cubicBezTo>
                  <a:cubicBezTo>
                    <a:pt x="273" y="54"/>
                    <a:pt x="273" y="54"/>
                    <a:pt x="273" y="54"/>
                  </a:cubicBezTo>
                  <a:cubicBezTo>
                    <a:pt x="273" y="45"/>
                    <a:pt x="274" y="34"/>
                    <a:pt x="262" y="34"/>
                  </a:cubicBezTo>
                  <a:cubicBezTo>
                    <a:pt x="253" y="34"/>
                    <a:pt x="249" y="36"/>
                    <a:pt x="247" y="45"/>
                  </a:cubicBezTo>
                  <a:cubicBezTo>
                    <a:pt x="238" y="45"/>
                    <a:pt x="238" y="45"/>
                    <a:pt x="238" y="45"/>
                  </a:cubicBezTo>
                  <a:cubicBezTo>
                    <a:pt x="238" y="32"/>
                    <a:pt x="249" y="27"/>
                    <a:pt x="260" y="27"/>
                  </a:cubicBezTo>
                  <a:cubicBezTo>
                    <a:pt x="274" y="27"/>
                    <a:pt x="282" y="32"/>
                    <a:pt x="282" y="47"/>
                  </a:cubicBezTo>
                  <a:cubicBezTo>
                    <a:pt x="282" y="92"/>
                    <a:pt x="282" y="92"/>
                    <a:pt x="282" y="92"/>
                  </a:cubicBezTo>
                  <a:cubicBezTo>
                    <a:pt x="273" y="92"/>
                    <a:pt x="273" y="92"/>
                    <a:pt x="273" y="92"/>
                  </a:cubicBezTo>
                  <a:cubicBezTo>
                    <a:pt x="273" y="92"/>
                    <a:pt x="273" y="92"/>
                    <a:pt x="273" y="92"/>
                  </a:cubicBezTo>
                  <a:close/>
                  <a:moveTo>
                    <a:pt x="267" y="63"/>
                  </a:moveTo>
                  <a:cubicBezTo>
                    <a:pt x="260" y="63"/>
                    <a:pt x="247" y="66"/>
                    <a:pt x="247" y="75"/>
                  </a:cubicBezTo>
                  <a:cubicBezTo>
                    <a:pt x="247" y="81"/>
                    <a:pt x="251" y="84"/>
                    <a:pt x="256" y="84"/>
                  </a:cubicBezTo>
                  <a:cubicBezTo>
                    <a:pt x="262" y="84"/>
                    <a:pt x="269" y="81"/>
                    <a:pt x="271" y="75"/>
                  </a:cubicBezTo>
                  <a:cubicBezTo>
                    <a:pt x="273" y="70"/>
                    <a:pt x="273" y="68"/>
                    <a:pt x="273" y="63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3"/>
                    <a:pt x="267" y="63"/>
                    <a:pt x="267" y="63"/>
                  </a:cubicBezTo>
                  <a:close/>
                  <a:moveTo>
                    <a:pt x="303" y="92"/>
                  </a:moveTo>
                  <a:cubicBezTo>
                    <a:pt x="303" y="0"/>
                    <a:pt x="303" y="0"/>
                    <a:pt x="303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2" y="92"/>
                    <a:pt x="312" y="92"/>
                    <a:pt x="312" y="92"/>
                  </a:cubicBezTo>
                  <a:cubicBezTo>
                    <a:pt x="303" y="92"/>
                    <a:pt x="303" y="92"/>
                    <a:pt x="303" y="92"/>
                  </a:cubicBezTo>
                  <a:cubicBezTo>
                    <a:pt x="303" y="92"/>
                    <a:pt x="303" y="92"/>
                    <a:pt x="303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3889375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4076700" y="3629029"/>
              <a:ext cx="2130425" cy="442912"/>
            </a:xfrm>
            <a:custGeom>
              <a:avLst/>
              <a:gdLst>
                <a:gd name="T0" fmla="*/ 0 w 568"/>
                <a:gd name="T1" fmla="*/ 9 h 118"/>
                <a:gd name="T2" fmla="*/ 54 w 568"/>
                <a:gd name="T3" fmla="*/ 9 h 118"/>
                <a:gd name="T4" fmla="*/ 22 w 568"/>
                <a:gd name="T5" fmla="*/ 92 h 118"/>
                <a:gd name="T6" fmla="*/ 88 w 568"/>
                <a:gd name="T7" fmla="*/ 93 h 118"/>
                <a:gd name="T8" fmla="*/ 103 w 568"/>
                <a:gd name="T9" fmla="*/ 50 h 118"/>
                <a:gd name="T10" fmla="*/ 67 w 568"/>
                <a:gd name="T11" fmla="*/ 57 h 118"/>
                <a:gd name="T12" fmla="*/ 103 w 568"/>
                <a:gd name="T13" fmla="*/ 92 h 118"/>
                <a:gd name="T14" fmla="*/ 81 w 568"/>
                <a:gd name="T15" fmla="*/ 34 h 118"/>
                <a:gd name="T16" fmla="*/ 94 w 568"/>
                <a:gd name="T17" fmla="*/ 47 h 118"/>
                <a:gd name="T18" fmla="*/ 113 w 568"/>
                <a:gd name="T19" fmla="*/ 57 h 118"/>
                <a:gd name="T20" fmla="*/ 151 w 568"/>
                <a:gd name="T21" fmla="*/ 47 h 118"/>
                <a:gd name="T22" fmla="*/ 149 w 568"/>
                <a:gd name="T23" fmla="*/ 84 h 118"/>
                <a:gd name="T24" fmla="*/ 160 w 568"/>
                <a:gd name="T25" fmla="*/ 92 h 118"/>
                <a:gd name="T26" fmla="*/ 201 w 568"/>
                <a:gd name="T27" fmla="*/ 36 h 118"/>
                <a:gd name="T28" fmla="*/ 174 w 568"/>
                <a:gd name="T29" fmla="*/ 92 h 118"/>
                <a:gd name="T30" fmla="*/ 183 w 568"/>
                <a:gd name="T31" fmla="*/ 43 h 118"/>
                <a:gd name="T32" fmla="*/ 219 w 568"/>
                <a:gd name="T33" fmla="*/ 47 h 118"/>
                <a:gd name="T34" fmla="*/ 210 w 568"/>
                <a:gd name="T35" fmla="*/ 92 h 118"/>
                <a:gd name="T36" fmla="*/ 266 w 568"/>
                <a:gd name="T37" fmla="*/ 36 h 118"/>
                <a:gd name="T38" fmla="*/ 239 w 568"/>
                <a:gd name="T39" fmla="*/ 92 h 118"/>
                <a:gd name="T40" fmla="*/ 248 w 568"/>
                <a:gd name="T41" fmla="*/ 43 h 118"/>
                <a:gd name="T42" fmla="*/ 284 w 568"/>
                <a:gd name="T43" fmla="*/ 47 h 118"/>
                <a:gd name="T44" fmla="*/ 275 w 568"/>
                <a:gd name="T45" fmla="*/ 92 h 118"/>
                <a:gd name="T46" fmla="*/ 351 w 568"/>
                <a:gd name="T47" fmla="*/ 59 h 118"/>
                <a:gd name="T48" fmla="*/ 342 w 568"/>
                <a:gd name="T49" fmla="*/ 59 h 118"/>
                <a:gd name="T50" fmla="*/ 325 w 568"/>
                <a:gd name="T51" fmla="*/ 84 h 118"/>
                <a:gd name="T52" fmla="*/ 367 w 568"/>
                <a:gd name="T53" fmla="*/ 0 h 118"/>
                <a:gd name="T54" fmla="*/ 367 w 568"/>
                <a:gd name="T55" fmla="*/ 92 h 118"/>
                <a:gd name="T56" fmla="*/ 419 w 568"/>
                <a:gd name="T57" fmla="*/ 27 h 118"/>
                <a:gd name="T58" fmla="*/ 394 w 568"/>
                <a:gd name="T59" fmla="*/ 59 h 118"/>
                <a:gd name="T60" fmla="*/ 403 w 568"/>
                <a:gd name="T61" fmla="*/ 59 h 118"/>
                <a:gd name="T62" fmla="*/ 494 w 568"/>
                <a:gd name="T63" fmla="*/ 79 h 118"/>
                <a:gd name="T64" fmla="*/ 455 w 568"/>
                <a:gd name="T65" fmla="*/ 59 h 118"/>
                <a:gd name="T66" fmla="*/ 494 w 568"/>
                <a:gd name="T67" fmla="*/ 38 h 118"/>
                <a:gd name="T68" fmla="*/ 503 w 568"/>
                <a:gd name="T69" fmla="*/ 92 h 118"/>
                <a:gd name="T70" fmla="*/ 458 w 568"/>
                <a:gd name="T71" fmla="*/ 108 h 118"/>
                <a:gd name="T72" fmla="*/ 494 w 568"/>
                <a:gd name="T73" fmla="*/ 79 h 118"/>
                <a:gd name="T74" fmla="*/ 478 w 568"/>
                <a:gd name="T75" fmla="*/ 34 h 118"/>
                <a:gd name="T76" fmla="*/ 494 w 568"/>
                <a:gd name="T77" fmla="*/ 59 h 118"/>
                <a:gd name="T78" fmla="*/ 512 w 568"/>
                <a:gd name="T79" fmla="*/ 29 h 118"/>
                <a:gd name="T80" fmla="*/ 541 w 568"/>
                <a:gd name="T81" fmla="*/ 77 h 118"/>
                <a:gd name="T82" fmla="*/ 537 w 568"/>
                <a:gd name="T83" fmla="*/ 11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68" h="118">
                  <a:moveTo>
                    <a:pt x="22" y="92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22" y="92"/>
                    <a:pt x="22" y="92"/>
                    <a:pt x="22" y="92"/>
                  </a:cubicBezTo>
                  <a:close/>
                  <a:moveTo>
                    <a:pt x="103" y="92"/>
                  </a:moveTo>
                  <a:cubicBezTo>
                    <a:pt x="97" y="92"/>
                    <a:pt x="92" y="93"/>
                    <a:pt x="88" y="93"/>
                  </a:cubicBezTo>
                  <a:cubicBezTo>
                    <a:pt x="65" y="93"/>
                    <a:pt x="56" y="79"/>
                    <a:pt x="56" y="57"/>
                  </a:cubicBezTo>
                  <a:cubicBezTo>
                    <a:pt x="56" y="41"/>
                    <a:pt x="63" y="27"/>
                    <a:pt x="81" y="27"/>
                  </a:cubicBezTo>
                  <a:cubicBezTo>
                    <a:pt x="95" y="27"/>
                    <a:pt x="103" y="36"/>
                    <a:pt x="103" y="50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72"/>
                    <a:pt x="74" y="84"/>
                    <a:pt x="90" y="84"/>
                  </a:cubicBezTo>
                  <a:cubicBezTo>
                    <a:pt x="94" y="84"/>
                    <a:pt x="97" y="84"/>
                    <a:pt x="103" y="83"/>
                  </a:cubicBezTo>
                  <a:cubicBezTo>
                    <a:pt x="103" y="92"/>
                    <a:pt x="103" y="92"/>
                    <a:pt x="103" y="92"/>
                  </a:cubicBezTo>
                  <a:cubicBezTo>
                    <a:pt x="103" y="92"/>
                    <a:pt x="103" y="92"/>
                    <a:pt x="103" y="92"/>
                  </a:cubicBezTo>
                  <a:close/>
                  <a:moveTo>
                    <a:pt x="94" y="47"/>
                  </a:moveTo>
                  <a:cubicBezTo>
                    <a:pt x="94" y="39"/>
                    <a:pt x="88" y="34"/>
                    <a:pt x="81" y="34"/>
                  </a:cubicBezTo>
                  <a:cubicBezTo>
                    <a:pt x="74" y="34"/>
                    <a:pt x="68" y="39"/>
                    <a:pt x="67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lose/>
                  <a:moveTo>
                    <a:pt x="160" y="92"/>
                  </a:moveTo>
                  <a:cubicBezTo>
                    <a:pt x="155" y="92"/>
                    <a:pt x="151" y="93"/>
                    <a:pt x="146" y="93"/>
                  </a:cubicBezTo>
                  <a:cubicBezTo>
                    <a:pt x="124" y="93"/>
                    <a:pt x="113" y="79"/>
                    <a:pt x="113" y="57"/>
                  </a:cubicBezTo>
                  <a:cubicBezTo>
                    <a:pt x="113" y="41"/>
                    <a:pt x="121" y="27"/>
                    <a:pt x="140" y="27"/>
                  </a:cubicBezTo>
                  <a:cubicBezTo>
                    <a:pt x="153" y="27"/>
                    <a:pt x="162" y="34"/>
                    <a:pt x="162" y="47"/>
                  </a:cubicBezTo>
                  <a:cubicBezTo>
                    <a:pt x="151" y="47"/>
                    <a:pt x="151" y="47"/>
                    <a:pt x="151" y="47"/>
                  </a:cubicBezTo>
                  <a:cubicBezTo>
                    <a:pt x="151" y="39"/>
                    <a:pt x="147" y="34"/>
                    <a:pt x="139" y="34"/>
                  </a:cubicBezTo>
                  <a:cubicBezTo>
                    <a:pt x="128" y="34"/>
                    <a:pt x="124" y="47"/>
                    <a:pt x="124" y="56"/>
                  </a:cubicBezTo>
                  <a:cubicBezTo>
                    <a:pt x="124" y="72"/>
                    <a:pt x="131" y="84"/>
                    <a:pt x="149" y="84"/>
                  </a:cubicBezTo>
                  <a:cubicBezTo>
                    <a:pt x="153" y="84"/>
                    <a:pt x="156" y="84"/>
                    <a:pt x="160" y="84"/>
                  </a:cubicBezTo>
                  <a:cubicBezTo>
                    <a:pt x="160" y="92"/>
                    <a:pt x="160" y="92"/>
                    <a:pt x="160" y="92"/>
                  </a:cubicBezTo>
                  <a:cubicBezTo>
                    <a:pt x="160" y="92"/>
                    <a:pt x="160" y="92"/>
                    <a:pt x="160" y="92"/>
                  </a:cubicBezTo>
                  <a:close/>
                  <a:moveTo>
                    <a:pt x="210" y="92"/>
                  </a:moveTo>
                  <a:cubicBezTo>
                    <a:pt x="210" y="56"/>
                    <a:pt x="210" y="56"/>
                    <a:pt x="210" y="56"/>
                  </a:cubicBezTo>
                  <a:cubicBezTo>
                    <a:pt x="210" y="48"/>
                    <a:pt x="210" y="36"/>
                    <a:pt x="201" y="36"/>
                  </a:cubicBezTo>
                  <a:cubicBezTo>
                    <a:pt x="189" y="36"/>
                    <a:pt x="183" y="56"/>
                    <a:pt x="183" y="65"/>
                  </a:cubicBezTo>
                  <a:cubicBezTo>
                    <a:pt x="183" y="92"/>
                    <a:pt x="183" y="92"/>
                    <a:pt x="183" y="92"/>
                  </a:cubicBezTo>
                  <a:cubicBezTo>
                    <a:pt x="174" y="92"/>
                    <a:pt x="174" y="92"/>
                    <a:pt x="174" y="92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7" y="32"/>
                    <a:pt x="192" y="27"/>
                    <a:pt x="203" y="27"/>
                  </a:cubicBezTo>
                  <a:cubicBezTo>
                    <a:pt x="214" y="27"/>
                    <a:pt x="219" y="36"/>
                    <a:pt x="219" y="47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0" y="92"/>
                    <a:pt x="210" y="92"/>
                    <a:pt x="210" y="92"/>
                  </a:cubicBezTo>
                  <a:cubicBezTo>
                    <a:pt x="210" y="92"/>
                    <a:pt x="210" y="92"/>
                    <a:pt x="210" y="92"/>
                  </a:cubicBezTo>
                  <a:close/>
                  <a:moveTo>
                    <a:pt x="275" y="92"/>
                  </a:moveTo>
                  <a:cubicBezTo>
                    <a:pt x="275" y="56"/>
                    <a:pt x="275" y="56"/>
                    <a:pt x="275" y="56"/>
                  </a:cubicBezTo>
                  <a:cubicBezTo>
                    <a:pt x="275" y="48"/>
                    <a:pt x="277" y="36"/>
                    <a:pt x="266" y="36"/>
                  </a:cubicBezTo>
                  <a:cubicBezTo>
                    <a:pt x="254" y="36"/>
                    <a:pt x="248" y="56"/>
                    <a:pt x="248" y="65"/>
                  </a:cubicBezTo>
                  <a:cubicBezTo>
                    <a:pt x="248" y="92"/>
                    <a:pt x="248" y="92"/>
                    <a:pt x="248" y="92"/>
                  </a:cubicBezTo>
                  <a:cubicBezTo>
                    <a:pt x="239" y="92"/>
                    <a:pt x="239" y="92"/>
                    <a:pt x="239" y="92"/>
                  </a:cubicBezTo>
                  <a:cubicBezTo>
                    <a:pt x="239" y="29"/>
                    <a:pt x="239" y="29"/>
                    <a:pt x="239" y="29"/>
                  </a:cubicBezTo>
                  <a:cubicBezTo>
                    <a:pt x="248" y="29"/>
                    <a:pt x="248" y="29"/>
                    <a:pt x="248" y="29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52" y="32"/>
                    <a:pt x="257" y="27"/>
                    <a:pt x="268" y="27"/>
                  </a:cubicBezTo>
                  <a:cubicBezTo>
                    <a:pt x="279" y="27"/>
                    <a:pt x="284" y="36"/>
                    <a:pt x="284" y="47"/>
                  </a:cubicBezTo>
                  <a:cubicBezTo>
                    <a:pt x="284" y="92"/>
                    <a:pt x="284" y="92"/>
                    <a:pt x="284" y="92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5" y="92"/>
                    <a:pt x="275" y="92"/>
                    <a:pt x="275" y="92"/>
                  </a:cubicBezTo>
                  <a:close/>
                  <a:moveTo>
                    <a:pt x="300" y="59"/>
                  </a:moveTo>
                  <a:cubicBezTo>
                    <a:pt x="300" y="43"/>
                    <a:pt x="306" y="27"/>
                    <a:pt x="325" y="27"/>
                  </a:cubicBezTo>
                  <a:cubicBezTo>
                    <a:pt x="345" y="27"/>
                    <a:pt x="351" y="43"/>
                    <a:pt x="351" y="59"/>
                  </a:cubicBezTo>
                  <a:cubicBezTo>
                    <a:pt x="351" y="77"/>
                    <a:pt x="345" y="93"/>
                    <a:pt x="325" y="93"/>
                  </a:cubicBezTo>
                  <a:cubicBezTo>
                    <a:pt x="306" y="93"/>
                    <a:pt x="300" y="77"/>
                    <a:pt x="300" y="59"/>
                  </a:cubicBezTo>
                  <a:close/>
                  <a:moveTo>
                    <a:pt x="342" y="59"/>
                  </a:moveTo>
                  <a:cubicBezTo>
                    <a:pt x="342" y="50"/>
                    <a:pt x="338" y="34"/>
                    <a:pt x="325" y="34"/>
                  </a:cubicBezTo>
                  <a:cubicBezTo>
                    <a:pt x="313" y="34"/>
                    <a:pt x="309" y="50"/>
                    <a:pt x="309" y="59"/>
                  </a:cubicBezTo>
                  <a:cubicBezTo>
                    <a:pt x="309" y="70"/>
                    <a:pt x="313" y="84"/>
                    <a:pt x="325" y="84"/>
                  </a:cubicBezTo>
                  <a:cubicBezTo>
                    <a:pt x="338" y="84"/>
                    <a:pt x="342" y="70"/>
                    <a:pt x="342" y="59"/>
                  </a:cubicBezTo>
                  <a:close/>
                  <a:moveTo>
                    <a:pt x="367" y="92"/>
                  </a:moveTo>
                  <a:cubicBezTo>
                    <a:pt x="367" y="0"/>
                    <a:pt x="367" y="0"/>
                    <a:pt x="367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67" y="92"/>
                    <a:pt x="367" y="92"/>
                    <a:pt x="367" y="92"/>
                  </a:cubicBezTo>
                  <a:cubicBezTo>
                    <a:pt x="367" y="92"/>
                    <a:pt x="367" y="92"/>
                    <a:pt x="367" y="92"/>
                  </a:cubicBezTo>
                  <a:close/>
                  <a:moveTo>
                    <a:pt x="394" y="59"/>
                  </a:moveTo>
                  <a:cubicBezTo>
                    <a:pt x="394" y="43"/>
                    <a:pt x="399" y="27"/>
                    <a:pt x="419" y="27"/>
                  </a:cubicBezTo>
                  <a:cubicBezTo>
                    <a:pt x="439" y="27"/>
                    <a:pt x="444" y="43"/>
                    <a:pt x="444" y="59"/>
                  </a:cubicBezTo>
                  <a:cubicBezTo>
                    <a:pt x="444" y="77"/>
                    <a:pt x="439" y="93"/>
                    <a:pt x="419" y="93"/>
                  </a:cubicBezTo>
                  <a:cubicBezTo>
                    <a:pt x="399" y="93"/>
                    <a:pt x="394" y="77"/>
                    <a:pt x="394" y="59"/>
                  </a:cubicBezTo>
                  <a:close/>
                  <a:moveTo>
                    <a:pt x="435" y="59"/>
                  </a:moveTo>
                  <a:cubicBezTo>
                    <a:pt x="435" y="50"/>
                    <a:pt x="431" y="34"/>
                    <a:pt x="419" y="34"/>
                  </a:cubicBezTo>
                  <a:cubicBezTo>
                    <a:pt x="406" y="34"/>
                    <a:pt x="403" y="50"/>
                    <a:pt x="403" y="59"/>
                  </a:cubicBezTo>
                  <a:cubicBezTo>
                    <a:pt x="403" y="70"/>
                    <a:pt x="406" y="84"/>
                    <a:pt x="419" y="84"/>
                  </a:cubicBezTo>
                  <a:cubicBezTo>
                    <a:pt x="431" y="84"/>
                    <a:pt x="435" y="70"/>
                    <a:pt x="435" y="59"/>
                  </a:cubicBezTo>
                  <a:close/>
                  <a:moveTo>
                    <a:pt x="494" y="79"/>
                  </a:moveTo>
                  <a:cubicBezTo>
                    <a:pt x="494" y="79"/>
                    <a:pt x="494" y="79"/>
                    <a:pt x="494" y="79"/>
                  </a:cubicBezTo>
                  <a:cubicBezTo>
                    <a:pt x="491" y="86"/>
                    <a:pt x="485" y="92"/>
                    <a:pt x="476" y="92"/>
                  </a:cubicBezTo>
                  <a:cubicBezTo>
                    <a:pt x="460" y="92"/>
                    <a:pt x="455" y="74"/>
                    <a:pt x="455" y="59"/>
                  </a:cubicBezTo>
                  <a:cubicBezTo>
                    <a:pt x="455" y="47"/>
                    <a:pt x="460" y="27"/>
                    <a:pt x="476" y="27"/>
                  </a:cubicBezTo>
                  <a:cubicBezTo>
                    <a:pt x="485" y="27"/>
                    <a:pt x="491" y="30"/>
                    <a:pt x="494" y="38"/>
                  </a:cubicBezTo>
                  <a:cubicBezTo>
                    <a:pt x="494" y="38"/>
                    <a:pt x="494" y="38"/>
                    <a:pt x="494" y="38"/>
                  </a:cubicBezTo>
                  <a:cubicBezTo>
                    <a:pt x="494" y="29"/>
                    <a:pt x="494" y="29"/>
                    <a:pt x="494" y="29"/>
                  </a:cubicBezTo>
                  <a:cubicBezTo>
                    <a:pt x="503" y="29"/>
                    <a:pt x="503" y="29"/>
                    <a:pt x="503" y="29"/>
                  </a:cubicBezTo>
                  <a:cubicBezTo>
                    <a:pt x="503" y="92"/>
                    <a:pt x="503" y="92"/>
                    <a:pt x="503" y="92"/>
                  </a:cubicBezTo>
                  <a:cubicBezTo>
                    <a:pt x="503" y="110"/>
                    <a:pt x="494" y="118"/>
                    <a:pt x="476" y="118"/>
                  </a:cubicBezTo>
                  <a:cubicBezTo>
                    <a:pt x="469" y="118"/>
                    <a:pt x="466" y="118"/>
                    <a:pt x="458" y="117"/>
                  </a:cubicBezTo>
                  <a:cubicBezTo>
                    <a:pt x="458" y="108"/>
                    <a:pt x="458" y="108"/>
                    <a:pt x="458" y="108"/>
                  </a:cubicBezTo>
                  <a:cubicBezTo>
                    <a:pt x="464" y="110"/>
                    <a:pt x="469" y="111"/>
                    <a:pt x="474" y="111"/>
                  </a:cubicBezTo>
                  <a:cubicBezTo>
                    <a:pt x="489" y="111"/>
                    <a:pt x="494" y="104"/>
                    <a:pt x="494" y="90"/>
                  </a:cubicBezTo>
                  <a:cubicBezTo>
                    <a:pt x="494" y="79"/>
                    <a:pt x="494" y="79"/>
                    <a:pt x="494" y="79"/>
                  </a:cubicBezTo>
                  <a:cubicBezTo>
                    <a:pt x="494" y="79"/>
                    <a:pt x="494" y="79"/>
                    <a:pt x="494" y="79"/>
                  </a:cubicBezTo>
                  <a:close/>
                  <a:moveTo>
                    <a:pt x="494" y="59"/>
                  </a:moveTo>
                  <a:cubicBezTo>
                    <a:pt x="494" y="50"/>
                    <a:pt x="491" y="34"/>
                    <a:pt x="478" y="34"/>
                  </a:cubicBezTo>
                  <a:cubicBezTo>
                    <a:pt x="467" y="34"/>
                    <a:pt x="466" y="52"/>
                    <a:pt x="466" y="61"/>
                  </a:cubicBezTo>
                  <a:cubicBezTo>
                    <a:pt x="466" y="68"/>
                    <a:pt x="467" y="84"/>
                    <a:pt x="478" y="84"/>
                  </a:cubicBezTo>
                  <a:cubicBezTo>
                    <a:pt x="491" y="84"/>
                    <a:pt x="494" y="68"/>
                    <a:pt x="494" y="59"/>
                  </a:cubicBezTo>
                  <a:close/>
                  <a:moveTo>
                    <a:pt x="528" y="117"/>
                  </a:moveTo>
                  <a:cubicBezTo>
                    <a:pt x="537" y="92"/>
                    <a:pt x="537" y="92"/>
                    <a:pt x="537" y="92"/>
                  </a:cubicBezTo>
                  <a:cubicBezTo>
                    <a:pt x="512" y="29"/>
                    <a:pt x="512" y="29"/>
                    <a:pt x="512" y="29"/>
                  </a:cubicBezTo>
                  <a:cubicBezTo>
                    <a:pt x="523" y="29"/>
                    <a:pt x="523" y="29"/>
                    <a:pt x="523" y="29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59" y="29"/>
                    <a:pt x="559" y="29"/>
                    <a:pt x="559" y="29"/>
                  </a:cubicBezTo>
                  <a:cubicBezTo>
                    <a:pt x="568" y="29"/>
                    <a:pt x="568" y="29"/>
                    <a:pt x="568" y="29"/>
                  </a:cubicBezTo>
                  <a:cubicBezTo>
                    <a:pt x="537" y="117"/>
                    <a:pt x="537" y="117"/>
                    <a:pt x="537" y="117"/>
                  </a:cubicBezTo>
                  <a:cubicBezTo>
                    <a:pt x="528" y="117"/>
                    <a:pt x="528" y="117"/>
                    <a:pt x="528" y="117"/>
                  </a:cubicBezTo>
                  <a:cubicBezTo>
                    <a:pt x="528" y="117"/>
                    <a:pt x="528" y="117"/>
                    <a:pt x="528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6375400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12"/>
            <p:cNvSpPr>
              <a:spLocks noEditPoints="1"/>
            </p:cNvSpPr>
            <p:nvPr userDrawn="1"/>
          </p:nvSpPr>
          <p:spPr bwMode="auto">
            <a:xfrm>
              <a:off x="6589713" y="3621091"/>
              <a:ext cx="2020888" cy="458787"/>
            </a:xfrm>
            <a:custGeom>
              <a:avLst/>
              <a:gdLst>
                <a:gd name="T0" fmla="*/ 65 w 539"/>
                <a:gd name="T1" fmla="*/ 47 h 122"/>
                <a:gd name="T2" fmla="*/ 54 w 539"/>
                <a:gd name="T3" fmla="*/ 47 h 122"/>
                <a:gd name="T4" fmla="*/ 33 w 539"/>
                <a:gd name="T5" fmla="*/ 86 h 122"/>
                <a:gd name="T6" fmla="*/ 81 w 539"/>
                <a:gd name="T7" fmla="*/ 31 h 122"/>
                <a:gd name="T8" fmla="*/ 90 w 539"/>
                <a:gd name="T9" fmla="*/ 41 h 122"/>
                <a:gd name="T10" fmla="*/ 106 w 539"/>
                <a:gd name="T11" fmla="*/ 95 h 122"/>
                <a:gd name="T12" fmla="*/ 90 w 539"/>
                <a:gd name="T13" fmla="*/ 122 h 122"/>
                <a:gd name="T14" fmla="*/ 119 w 539"/>
                <a:gd name="T15" fmla="*/ 59 h 122"/>
                <a:gd name="T16" fmla="*/ 105 w 539"/>
                <a:gd name="T17" fmla="*/ 86 h 122"/>
                <a:gd name="T18" fmla="*/ 171 w 539"/>
                <a:gd name="T19" fmla="*/ 95 h 122"/>
                <a:gd name="T20" fmla="*/ 187 w 539"/>
                <a:gd name="T21" fmla="*/ 52 h 122"/>
                <a:gd name="T22" fmla="*/ 149 w 539"/>
                <a:gd name="T23" fmla="*/ 59 h 122"/>
                <a:gd name="T24" fmla="*/ 185 w 539"/>
                <a:gd name="T25" fmla="*/ 94 h 122"/>
                <a:gd name="T26" fmla="*/ 164 w 539"/>
                <a:gd name="T27" fmla="*/ 36 h 122"/>
                <a:gd name="T28" fmla="*/ 176 w 539"/>
                <a:gd name="T29" fmla="*/ 49 h 122"/>
                <a:gd name="T30" fmla="*/ 211 w 539"/>
                <a:gd name="T31" fmla="*/ 31 h 122"/>
                <a:gd name="T32" fmla="*/ 232 w 539"/>
                <a:gd name="T33" fmla="*/ 29 h 122"/>
                <a:gd name="T34" fmla="*/ 211 w 539"/>
                <a:gd name="T35" fmla="*/ 94 h 122"/>
                <a:gd name="T36" fmla="*/ 273 w 539"/>
                <a:gd name="T37" fmla="*/ 94 h 122"/>
                <a:gd name="T38" fmla="*/ 254 w 539"/>
                <a:gd name="T39" fmla="*/ 95 h 122"/>
                <a:gd name="T40" fmla="*/ 273 w 539"/>
                <a:gd name="T41" fmla="*/ 56 h 122"/>
                <a:gd name="T42" fmla="*/ 239 w 539"/>
                <a:gd name="T43" fmla="*/ 47 h 122"/>
                <a:gd name="T44" fmla="*/ 282 w 539"/>
                <a:gd name="T45" fmla="*/ 94 h 122"/>
                <a:gd name="T46" fmla="*/ 268 w 539"/>
                <a:gd name="T47" fmla="*/ 65 h 122"/>
                <a:gd name="T48" fmla="*/ 272 w 539"/>
                <a:gd name="T49" fmla="*/ 77 h 122"/>
                <a:gd name="T50" fmla="*/ 268 w 539"/>
                <a:gd name="T51" fmla="*/ 65 h 122"/>
                <a:gd name="T52" fmla="*/ 308 w 539"/>
                <a:gd name="T53" fmla="*/ 79 h 122"/>
                <a:gd name="T54" fmla="*/ 297 w 539"/>
                <a:gd name="T55" fmla="*/ 31 h 122"/>
                <a:gd name="T56" fmla="*/ 317 w 539"/>
                <a:gd name="T57" fmla="*/ 9 h 122"/>
                <a:gd name="T58" fmla="*/ 333 w 539"/>
                <a:gd name="T59" fmla="*/ 38 h 122"/>
                <a:gd name="T60" fmla="*/ 326 w 539"/>
                <a:gd name="T61" fmla="*/ 86 h 122"/>
                <a:gd name="T62" fmla="*/ 333 w 539"/>
                <a:gd name="T63" fmla="*/ 94 h 122"/>
                <a:gd name="T64" fmla="*/ 356 w 539"/>
                <a:gd name="T65" fmla="*/ 2 h 122"/>
                <a:gd name="T66" fmla="*/ 345 w 539"/>
                <a:gd name="T67" fmla="*/ 13 h 122"/>
                <a:gd name="T68" fmla="*/ 354 w 539"/>
                <a:gd name="T69" fmla="*/ 31 h 122"/>
                <a:gd name="T70" fmla="*/ 345 w 539"/>
                <a:gd name="T71" fmla="*/ 94 h 122"/>
                <a:gd name="T72" fmla="*/ 423 w 539"/>
                <a:gd name="T73" fmla="*/ 61 h 122"/>
                <a:gd name="T74" fmla="*/ 414 w 539"/>
                <a:gd name="T75" fmla="*/ 61 h 122"/>
                <a:gd name="T76" fmla="*/ 397 w 539"/>
                <a:gd name="T77" fmla="*/ 86 h 122"/>
                <a:gd name="T78" fmla="*/ 475 w 539"/>
                <a:gd name="T79" fmla="*/ 58 h 122"/>
                <a:gd name="T80" fmla="*/ 448 w 539"/>
                <a:gd name="T81" fmla="*/ 94 h 122"/>
                <a:gd name="T82" fmla="*/ 448 w 539"/>
                <a:gd name="T83" fmla="*/ 31 h 122"/>
                <a:gd name="T84" fmla="*/ 467 w 539"/>
                <a:gd name="T85" fmla="*/ 29 h 122"/>
                <a:gd name="T86" fmla="*/ 475 w 539"/>
                <a:gd name="T87" fmla="*/ 94 h 122"/>
                <a:gd name="T88" fmla="*/ 514 w 539"/>
                <a:gd name="T89" fmla="*/ 86 h 122"/>
                <a:gd name="T90" fmla="*/ 512 w 539"/>
                <a:gd name="T91" fmla="*/ 63 h 122"/>
                <a:gd name="T92" fmla="*/ 536 w 539"/>
                <a:gd name="T93" fmla="*/ 31 h 122"/>
                <a:gd name="T94" fmla="*/ 507 w 539"/>
                <a:gd name="T95" fmla="*/ 45 h 122"/>
                <a:gd name="T96" fmla="*/ 539 w 539"/>
                <a:gd name="T97" fmla="*/ 76 h 122"/>
                <a:gd name="T98" fmla="*/ 498 w 539"/>
                <a:gd name="T99" fmla="*/ 8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9" h="122">
                  <a:moveTo>
                    <a:pt x="0" y="47"/>
                  </a:moveTo>
                  <a:cubicBezTo>
                    <a:pt x="0" y="25"/>
                    <a:pt x="6" y="0"/>
                    <a:pt x="33" y="0"/>
                  </a:cubicBezTo>
                  <a:cubicBezTo>
                    <a:pt x="60" y="0"/>
                    <a:pt x="65" y="25"/>
                    <a:pt x="65" y="47"/>
                  </a:cubicBezTo>
                  <a:cubicBezTo>
                    <a:pt x="65" y="68"/>
                    <a:pt x="60" y="95"/>
                    <a:pt x="33" y="95"/>
                  </a:cubicBezTo>
                  <a:cubicBezTo>
                    <a:pt x="6" y="95"/>
                    <a:pt x="0" y="68"/>
                    <a:pt x="0" y="47"/>
                  </a:cubicBezTo>
                  <a:close/>
                  <a:moveTo>
                    <a:pt x="54" y="47"/>
                  </a:moveTo>
                  <a:cubicBezTo>
                    <a:pt x="54" y="32"/>
                    <a:pt x="52" y="9"/>
                    <a:pt x="33" y="9"/>
                  </a:cubicBezTo>
                  <a:cubicBezTo>
                    <a:pt x="13" y="9"/>
                    <a:pt x="11" y="32"/>
                    <a:pt x="11" y="47"/>
                  </a:cubicBezTo>
                  <a:cubicBezTo>
                    <a:pt x="11" y="61"/>
                    <a:pt x="13" y="86"/>
                    <a:pt x="33" y="86"/>
                  </a:cubicBezTo>
                  <a:cubicBezTo>
                    <a:pt x="52" y="86"/>
                    <a:pt x="54" y="61"/>
                    <a:pt x="54" y="47"/>
                  </a:cubicBezTo>
                  <a:close/>
                  <a:moveTo>
                    <a:pt x="81" y="122"/>
                  </a:moveTo>
                  <a:cubicBezTo>
                    <a:pt x="81" y="31"/>
                    <a:pt x="81" y="31"/>
                    <a:pt x="81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2" y="32"/>
                    <a:pt x="99" y="29"/>
                    <a:pt x="106" y="29"/>
                  </a:cubicBezTo>
                  <a:cubicBezTo>
                    <a:pt x="126" y="29"/>
                    <a:pt x="128" y="47"/>
                    <a:pt x="128" y="61"/>
                  </a:cubicBezTo>
                  <a:cubicBezTo>
                    <a:pt x="128" y="76"/>
                    <a:pt x="124" y="95"/>
                    <a:pt x="106" y="95"/>
                  </a:cubicBezTo>
                  <a:cubicBezTo>
                    <a:pt x="99" y="95"/>
                    <a:pt x="94" y="90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81" y="122"/>
                    <a:pt x="81" y="122"/>
                    <a:pt x="81" y="122"/>
                  </a:cubicBezTo>
                  <a:cubicBezTo>
                    <a:pt x="81" y="122"/>
                    <a:pt x="81" y="122"/>
                    <a:pt x="81" y="122"/>
                  </a:cubicBezTo>
                  <a:close/>
                  <a:moveTo>
                    <a:pt x="119" y="59"/>
                  </a:moveTo>
                  <a:cubicBezTo>
                    <a:pt x="119" y="50"/>
                    <a:pt x="117" y="36"/>
                    <a:pt x="105" y="36"/>
                  </a:cubicBezTo>
                  <a:cubicBezTo>
                    <a:pt x="94" y="36"/>
                    <a:pt x="90" y="52"/>
                    <a:pt x="90" y="61"/>
                  </a:cubicBezTo>
                  <a:cubicBezTo>
                    <a:pt x="90" y="70"/>
                    <a:pt x="94" y="86"/>
                    <a:pt x="105" y="86"/>
                  </a:cubicBezTo>
                  <a:cubicBezTo>
                    <a:pt x="117" y="86"/>
                    <a:pt x="119" y="68"/>
                    <a:pt x="119" y="59"/>
                  </a:cubicBezTo>
                  <a:close/>
                  <a:moveTo>
                    <a:pt x="185" y="94"/>
                  </a:moveTo>
                  <a:cubicBezTo>
                    <a:pt x="180" y="94"/>
                    <a:pt x="175" y="95"/>
                    <a:pt x="171" y="95"/>
                  </a:cubicBezTo>
                  <a:cubicBezTo>
                    <a:pt x="148" y="95"/>
                    <a:pt x="140" y="81"/>
                    <a:pt x="140" y="59"/>
                  </a:cubicBezTo>
                  <a:cubicBezTo>
                    <a:pt x="140" y="43"/>
                    <a:pt x="146" y="29"/>
                    <a:pt x="164" y="29"/>
                  </a:cubicBezTo>
                  <a:cubicBezTo>
                    <a:pt x="178" y="29"/>
                    <a:pt x="187" y="38"/>
                    <a:pt x="187" y="52"/>
                  </a:cubicBezTo>
                  <a:cubicBezTo>
                    <a:pt x="187" y="56"/>
                    <a:pt x="187" y="56"/>
                    <a:pt x="187" y="56"/>
                  </a:cubicBezTo>
                  <a:cubicBezTo>
                    <a:pt x="149" y="56"/>
                    <a:pt x="149" y="56"/>
                    <a:pt x="149" y="56"/>
                  </a:cubicBezTo>
                  <a:cubicBezTo>
                    <a:pt x="149" y="59"/>
                    <a:pt x="149" y="59"/>
                    <a:pt x="149" y="59"/>
                  </a:cubicBezTo>
                  <a:cubicBezTo>
                    <a:pt x="149" y="74"/>
                    <a:pt x="157" y="86"/>
                    <a:pt x="173" y="86"/>
                  </a:cubicBezTo>
                  <a:cubicBezTo>
                    <a:pt x="176" y="86"/>
                    <a:pt x="180" y="86"/>
                    <a:pt x="185" y="85"/>
                  </a:cubicBezTo>
                  <a:cubicBezTo>
                    <a:pt x="185" y="94"/>
                    <a:pt x="185" y="94"/>
                    <a:pt x="185" y="94"/>
                  </a:cubicBezTo>
                  <a:cubicBezTo>
                    <a:pt x="185" y="94"/>
                    <a:pt x="185" y="94"/>
                    <a:pt x="185" y="94"/>
                  </a:cubicBezTo>
                  <a:close/>
                  <a:moveTo>
                    <a:pt x="176" y="49"/>
                  </a:moveTo>
                  <a:cubicBezTo>
                    <a:pt x="176" y="41"/>
                    <a:pt x="171" y="36"/>
                    <a:pt x="164" y="36"/>
                  </a:cubicBezTo>
                  <a:cubicBezTo>
                    <a:pt x="157" y="36"/>
                    <a:pt x="151" y="41"/>
                    <a:pt x="151" y="49"/>
                  </a:cubicBezTo>
                  <a:cubicBezTo>
                    <a:pt x="176" y="49"/>
                    <a:pt x="176" y="49"/>
                    <a:pt x="176" y="49"/>
                  </a:cubicBezTo>
                  <a:cubicBezTo>
                    <a:pt x="176" y="49"/>
                    <a:pt x="176" y="49"/>
                    <a:pt x="176" y="49"/>
                  </a:cubicBezTo>
                  <a:close/>
                  <a:moveTo>
                    <a:pt x="202" y="94"/>
                  </a:moveTo>
                  <a:cubicBezTo>
                    <a:pt x="202" y="31"/>
                    <a:pt x="202" y="31"/>
                    <a:pt x="202" y="31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4" y="32"/>
                    <a:pt x="221" y="29"/>
                    <a:pt x="232" y="29"/>
                  </a:cubicBezTo>
                  <a:cubicBezTo>
                    <a:pt x="232" y="38"/>
                    <a:pt x="232" y="38"/>
                    <a:pt x="232" y="38"/>
                  </a:cubicBezTo>
                  <a:cubicBezTo>
                    <a:pt x="216" y="38"/>
                    <a:pt x="211" y="54"/>
                    <a:pt x="211" y="67"/>
                  </a:cubicBezTo>
                  <a:cubicBezTo>
                    <a:pt x="211" y="94"/>
                    <a:pt x="211" y="94"/>
                    <a:pt x="211" y="94"/>
                  </a:cubicBezTo>
                  <a:cubicBezTo>
                    <a:pt x="202" y="94"/>
                    <a:pt x="202" y="94"/>
                    <a:pt x="202" y="94"/>
                  </a:cubicBezTo>
                  <a:cubicBezTo>
                    <a:pt x="202" y="94"/>
                    <a:pt x="202" y="94"/>
                    <a:pt x="202" y="94"/>
                  </a:cubicBezTo>
                  <a:close/>
                  <a:moveTo>
                    <a:pt x="273" y="94"/>
                  </a:moveTo>
                  <a:cubicBezTo>
                    <a:pt x="273" y="85"/>
                    <a:pt x="273" y="85"/>
                    <a:pt x="273" y="85"/>
                  </a:cubicBezTo>
                  <a:cubicBezTo>
                    <a:pt x="273" y="85"/>
                    <a:pt x="273" y="85"/>
                    <a:pt x="273" y="85"/>
                  </a:cubicBezTo>
                  <a:cubicBezTo>
                    <a:pt x="270" y="92"/>
                    <a:pt x="261" y="95"/>
                    <a:pt x="254" y="95"/>
                  </a:cubicBezTo>
                  <a:cubicBezTo>
                    <a:pt x="243" y="95"/>
                    <a:pt x="238" y="88"/>
                    <a:pt x="238" y="77"/>
                  </a:cubicBezTo>
                  <a:cubicBezTo>
                    <a:pt x="238" y="63"/>
                    <a:pt x="254" y="58"/>
                    <a:pt x="273" y="58"/>
                  </a:cubicBezTo>
                  <a:cubicBezTo>
                    <a:pt x="273" y="56"/>
                    <a:pt x="273" y="56"/>
                    <a:pt x="273" y="56"/>
                  </a:cubicBezTo>
                  <a:cubicBezTo>
                    <a:pt x="273" y="47"/>
                    <a:pt x="273" y="36"/>
                    <a:pt x="261" y="36"/>
                  </a:cubicBezTo>
                  <a:cubicBezTo>
                    <a:pt x="254" y="36"/>
                    <a:pt x="250" y="38"/>
                    <a:pt x="248" y="47"/>
                  </a:cubicBezTo>
                  <a:cubicBezTo>
                    <a:pt x="239" y="47"/>
                    <a:pt x="239" y="47"/>
                    <a:pt x="239" y="47"/>
                  </a:cubicBezTo>
                  <a:cubicBezTo>
                    <a:pt x="239" y="34"/>
                    <a:pt x="250" y="29"/>
                    <a:pt x="261" y="29"/>
                  </a:cubicBezTo>
                  <a:cubicBezTo>
                    <a:pt x="275" y="29"/>
                    <a:pt x="282" y="34"/>
                    <a:pt x="282" y="49"/>
                  </a:cubicBezTo>
                  <a:cubicBezTo>
                    <a:pt x="282" y="94"/>
                    <a:pt x="282" y="94"/>
                    <a:pt x="282" y="94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lose/>
                  <a:moveTo>
                    <a:pt x="268" y="65"/>
                  </a:moveTo>
                  <a:cubicBezTo>
                    <a:pt x="261" y="65"/>
                    <a:pt x="248" y="68"/>
                    <a:pt x="248" y="77"/>
                  </a:cubicBezTo>
                  <a:cubicBezTo>
                    <a:pt x="248" y="83"/>
                    <a:pt x="252" y="86"/>
                    <a:pt x="255" y="86"/>
                  </a:cubicBezTo>
                  <a:cubicBezTo>
                    <a:pt x="263" y="86"/>
                    <a:pt x="268" y="83"/>
                    <a:pt x="272" y="77"/>
                  </a:cubicBezTo>
                  <a:cubicBezTo>
                    <a:pt x="273" y="72"/>
                    <a:pt x="273" y="70"/>
                    <a:pt x="273" y="65"/>
                  </a:cubicBezTo>
                  <a:cubicBezTo>
                    <a:pt x="268" y="65"/>
                    <a:pt x="268" y="65"/>
                    <a:pt x="268" y="65"/>
                  </a:cubicBezTo>
                  <a:cubicBezTo>
                    <a:pt x="268" y="65"/>
                    <a:pt x="268" y="65"/>
                    <a:pt x="268" y="65"/>
                  </a:cubicBezTo>
                  <a:close/>
                  <a:moveTo>
                    <a:pt x="333" y="94"/>
                  </a:moveTo>
                  <a:cubicBezTo>
                    <a:pt x="329" y="95"/>
                    <a:pt x="327" y="95"/>
                    <a:pt x="324" y="95"/>
                  </a:cubicBezTo>
                  <a:cubicBezTo>
                    <a:pt x="313" y="95"/>
                    <a:pt x="308" y="90"/>
                    <a:pt x="308" y="79"/>
                  </a:cubicBezTo>
                  <a:cubicBezTo>
                    <a:pt x="308" y="38"/>
                    <a:pt x="308" y="38"/>
                    <a:pt x="308" y="38"/>
                  </a:cubicBezTo>
                  <a:cubicBezTo>
                    <a:pt x="297" y="38"/>
                    <a:pt x="297" y="38"/>
                    <a:pt x="297" y="38"/>
                  </a:cubicBezTo>
                  <a:cubicBezTo>
                    <a:pt x="297" y="31"/>
                    <a:pt x="297" y="31"/>
                    <a:pt x="297" y="31"/>
                  </a:cubicBezTo>
                  <a:cubicBezTo>
                    <a:pt x="308" y="31"/>
                    <a:pt x="308" y="31"/>
                    <a:pt x="308" y="31"/>
                  </a:cubicBezTo>
                  <a:cubicBezTo>
                    <a:pt x="308" y="14"/>
                    <a:pt x="308" y="14"/>
                    <a:pt x="308" y="14"/>
                  </a:cubicBezTo>
                  <a:cubicBezTo>
                    <a:pt x="317" y="9"/>
                    <a:pt x="317" y="9"/>
                    <a:pt x="317" y="9"/>
                  </a:cubicBezTo>
                  <a:cubicBezTo>
                    <a:pt x="317" y="31"/>
                    <a:pt x="317" y="31"/>
                    <a:pt x="317" y="31"/>
                  </a:cubicBezTo>
                  <a:cubicBezTo>
                    <a:pt x="333" y="31"/>
                    <a:pt x="333" y="31"/>
                    <a:pt x="333" y="31"/>
                  </a:cubicBezTo>
                  <a:cubicBezTo>
                    <a:pt x="333" y="38"/>
                    <a:pt x="333" y="38"/>
                    <a:pt x="333" y="38"/>
                  </a:cubicBezTo>
                  <a:cubicBezTo>
                    <a:pt x="317" y="38"/>
                    <a:pt x="317" y="38"/>
                    <a:pt x="317" y="38"/>
                  </a:cubicBezTo>
                  <a:cubicBezTo>
                    <a:pt x="317" y="77"/>
                    <a:pt x="317" y="77"/>
                    <a:pt x="317" y="77"/>
                  </a:cubicBezTo>
                  <a:cubicBezTo>
                    <a:pt x="317" y="83"/>
                    <a:pt x="318" y="86"/>
                    <a:pt x="326" y="86"/>
                  </a:cubicBezTo>
                  <a:cubicBezTo>
                    <a:pt x="329" y="86"/>
                    <a:pt x="329" y="86"/>
                    <a:pt x="333" y="86"/>
                  </a:cubicBezTo>
                  <a:cubicBezTo>
                    <a:pt x="333" y="94"/>
                    <a:pt x="333" y="94"/>
                    <a:pt x="333" y="94"/>
                  </a:cubicBezTo>
                  <a:cubicBezTo>
                    <a:pt x="333" y="94"/>
                    <a:pt x="333" y="94"/>
                    <a:pt x="333" y="94"/>
                  </a:cubicBezTo>
                  <a:close/>
                  <a:moveTo>
                    <a:pt x="345" y="13"/>
                  </a:moveTo>
                  <a:cubicBezTo>
                    <a:pt x="345" y="2"/>
                    <a:pt x="345" y="2"/>
                    <a:pt x="345" y="2"/>
                  </a:cubicBezTo>
                  <a:cubicBezTo>
                    <a:pt x="356" y="2"/>
                    <a:pt x="356" y="2"/>
                    <a:pt x="356" y="2"/>
                  </a:cubicBezTo>
                  <a:cubicBezTo>
                    <a:pt x="356" y="13"/>
                    <a:pt x="356" y="13"/>
                    <a:pt x="356" y="13"/>
                  </a:cubicBezTo>
                  <a:cubicBezTo>
                    <a:pt x="345" y="13"/>
                    <a:pt x="345" y="13"/>
                    <a:pt x="345" y="13"/>
                  </a:cubicBezTo>
                  <a:cubicBezTo>
                    <a:pt x="345" y="13"/>
                    <a:pt x="345" y="13"/>
                    <a:pt x="345" y="13"/>
                  </a:cubicBezTo>
                  <a:close/>
                  <a:moveTo>
                    <a:pt x="345" y="94"/>
                  </a:moveTo>
                  <a:cubicBezTo>
                    <a:pt x="345" y="31"/>
                    <a:pt x="345" y="31"/>
                    <a:pt x="345" y="31"/>
                  </a:cubicBezTo>
                  <a:cubicBezTo>
                    <a:pt x="354" y="31"/>
                    <a:pt x="354" y="31"/>
                    <a:pt x="354" y="31"/>
                  </a:cubicBezTo>
                  <a:cubicBezTo>
                    <a:pt x="354" y="94"/>
                    <a:pt x="354" y="94"/>
                    <a:pt x="354" y="94"/>
                  </a:cubicBezTo>
                  <a:cubicBezTo>
                    <a:pt x="345" y="94"/>
                    <a:pt x="345" y="94"/>
                    <a:pt x="345" y="94"/>
                  </a:cubicBezTo>
                  <a:cubicBezTo>
                    <a:pt x="345" y="94"/>
                    <a:pt x="345" y="94"/>
                    <a:pt x="345" y="94"/>
                  </a:cubicBezTo>
                  <a:close/>
                  <a:moveTo>
                    <a:pt x="372" y="61"/>
                  </a:moveTo>
                  <a:cubicBezTo>
                    <a:pt x="372" y="45"/>
                    <a:pt x="378" y="29"/>
                    <a:pt x="397" y="29"/>
                  </a:cubicBezTo>
                  <a:cubicBezTo>
                    <a:pt x="417" y="29"/>
                    <a:pt x="423" y="45"/>
                    <a:pt x="423" y="61"/>
                  </a:cubicBezTo>
                  <a:cubicBezTo>
                    <a:pt x="423" y="79"/>
                    <a:pt x="417" y="95"/>
                    <a:pt x="397" y="95"/>
                  </a:cubicBezTo>
                  <a:cubicBezTo>
                    <a:pt x="378" y="95"/>
                    <a:pt x="372" y="79"/>
                    <a:pt x="372" y="61"/>
                  </a:cubicBezTo>
                  <a:close/>
                  <a:moveTo>
                    <a:pt x="414" y="61"/>
                  </a:moveTo>
                  <a:cubicBezTo>
                    <a:pt x="414" y="52"/>
                    <a:pt x="410" y="36"/>
                    <a:pt x="397" y="36"/>
                  </a:cubicBezTo>
                  <a:cubicBezTo>
                    <a:pt x="385" y="36"/>
                    <a:pt x="381" y="52"/>
                    <a:pt x="381" y="61"/>
                  </a:cubicBezTo>
                  <a:cubicBezTo>
                    <a:pt x="381" y="72"/>
                    <a:pt x="385" y="86"/>
                    <a:pt x="397" y="86"/>
                  </a:cubicBezTo>
                  <a:cubicBezTo>
                    <a:pt x="410" y="86"/>
                    <a:pt x="414" y="72"/>
                    <a:pt x="414" y="61"/>
                  </a:cubicBezTo>
                  <a:close/>
                  <a:moveTo>
                    <a:pt x="475" y="94"/>
                  </a:moveTo>
                  <a:cubicBezTo>
                    <a:pt x="475" y="58"/>
                    <a:pt x="475" y="58"/>
                    <a:pt x="475" y="58"/>
                  </a:cubicBezTo>
                  <a:cubicBezTo>
                    <a:pt x="475" y="50"/>
                    <a:pt x="476" y="38"/>
                    <a:pt x="466" y="38"/>
                  </a:cubicBezTo>
                  <a:cubicBezTo>
                    <a:pt x="453" y="38"/>
                    <a:pt x="448" y="58"/>
                    <a:pt x="448" y="67"/>
                  </a:cubicBezTo>
                  <a:cubicBezTo>
                    <a:pt x="448" y="94"/>
                    <a:pt x="448" y="94"/>
                    <a:pt x="448" y="94"/>
                  </a:cubicBezTo>
                  <a:cubicBezTo>
                    <a:pt x="439" y="94"/>
                    <a:pt x="439" y="94"/>
                    <a:pt x="439" y="94"/>
                  </a:cubicBezTo>
                  <a:cubicBezTo>
                    <a:pt x="439" y="31"/>
                    <a:pt x="439" y="31"/>
                    <a:pt x="439" y="31"/>
                  </a:cubicBezTo>
                  <a:cubicBezTo>
                    <a:pt x="448" y="31"/>
                    <a:pt x="448" y="31"/>
                    <a:pt x="448" y="31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51" y="34"/>
                    <a:pt x="457" y="29"/>
                    <a:pt x="467" y="29"/>
                  </a:cubicBezTo>
                  <a:cubicBezTo>
                    <a:pt x="478" y="29"/>
                    <a:pt x="484" y="38"/>
                    <a:pt x="484" y="49"/>
                  </a:cubicBezTo>
                  <a:cubicBezTo>
                    <a:pt x="484" y="94"/>
                    <a:pt x="484" y="94"/>
                    <a:pt x="484" y="94"/>
                  </a:cubicBezTo>
                  <a:cubicBezTo>
                    <a:pt x="475" y="94"/>
                    <a:pt x="475" y="94"/>
                    <a:pt x="475" y="94"/>
                  </a:cubicBezTo>
                  <a:cubicBezTo>
                    <a:pt x="475" y="94"/>
                    <a:pt x="475" y="94"/>
                    <a:pt x="475" y="94"/>
                  </a:cubicBezTo>
                  <a:close/>
                  <a:moveTo>
                    <a:pt x="498" y="85"/>
                  </a:moveTo>
                  <a:cubicBezTo>
                    <a:pt x="503" y="86"/>
                    <a:pt x="509" y="86"/>
                    <a:pt x="514" y="86"/>
                  </a:cubicBezTo>
                  <a:cubicBezTo>
                    <a:pt x="521" y="86"/>
                    <a:pt x="530" y="85"/>
                    <a:pt x="530" y="77"/>
                  </a:cubicBezTo>
                  <a:cubicBezTo>
                    <a:pt x="530" y="70"/>
                    <a:pt x="523" y="68"/>
                    <a:pt x="518" y="65"/>
                  </a:cubicBezTo>
                  <a:cubicBezTo>
                    <a:pt x="512" y="63"/>
                    <a:pt x="512" y="63"/>
                    <a:pt x="512" y="63"/>
                  </a:cubicBezTo>
                  <a:cubicBezTo>
                    <a:pt x="505" y="59"/>
                    <a:pt x="498" y="56"/>
                    <a:pt x="498" y="45"/>
                  </a:cubicBezTo>
                  <a:cubicBezTo>
                    <a:pt x="498" y="32"/>
                    <a:pt x="509" y="29"/>
                    <a:pt x="520" y="29"/>
                  </a:cubicBezTo>
                  <a:cubicBezTo>
                    <a:pt x="525" y="29"/>
                    <a:pt x="530" y="29"/>
                    <a:pt x="536" y="31"/>
                  </a:cubicBezTo>
                  <a:cubicBezTo>
                    <a:pt x="536" y="40"/>
                    <a:pt x="536" y="40"/>
                    <a:pt x="536" y="40"/>
                  </a:cubicBezTo>
                  <a:cubicBezTo>
                    <a:pt x="530" y="38"/>
                    <a:pt x="525" y="36"/>
                    <a:pt x="520" y="36"/>
                  </a:cubicBezTo>
                  <a:cubicBezTo>
                    <a:pt x="516" y="36"/>
                    <a:pt x="507" y="38"/>
                    <a:pt x="507" y="45"/>
                  </a:cubicBezTo>
                  <a:cubicBezTo>
                    <a:pt x="507" y="50"/>
                    <a:pt x="514" y="52"/>
                    <a:pt x="520" y="54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32" y="63"/>
                    <a:pt x="539" y="65"/>
                    <a:pt x="539" y="76"/>
                  </a:cubicBezTo>
                  <a:cubicBezTo>
                    <a:pt x="539" y="90"/>
                    <a:pt x="529" y="95"/>
                    <a:pt x="516" y="95"/>
                  </a:cubicBezTo>
                  <a:cubicBezTo>
                    <a:pt x="509" y="95"/>
                    <a:pt x="503" y="94"/>
                    <a:pt x="498" y="92"/>
                  </a:cubicBezTo>
                  <a:cubicBezTo>
                    <a:pt x="498" y="85"/>
                    <a:pt x="498" y="85"/>
                    <a:pt x="498" y="85"/>
                  </a:cubicBezTo>
                  <a:cubicBezTo>
                    <a:pt x="498" y="85"/>
                    <a:pt x="498" y="85"/>
                    <a:pt x="498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6375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_Bottom_Colou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/>
          <p:cNvGrpSpPr/>
          <p:nvPr userDrawn="1"/>
        </p:nvGrpSpPr>
        <p:grpSpPr>
          <a:xfrm>
            <a:off x="5662800" y="791766"/>
            <a:ext cx="3074394" cy="1546292"/>
            <a:chOff x="5728986" y="1472516"/>
            <a:chExt cx="3074394" cy="2061722"/>
          </a:xfrm>
        </p:grpSpPr>
        <p:sp>
          <p:nvSpPr>
            <p:cNvPr id="32" name="Freeform 31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5614" y="2569409"/>
            <a:ext cx="4010024" cy="747713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/>
          </p:nvPr>
        </p:nvSpPr>
        <p:spPr>
          <a:xfrm>
            <a:off x="455613" y="3372453"/>
            <a:ext cx="4010024" cy="35067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15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5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921668" y="4707801"/>
            <a:ext cx="3739896" cy="167039"/>
            <a:chOff x="533400" y="3606804"/>
            <a:chExt cx="8077201" cy="481012"/>
          </a:xfrm>
          <a:solidFill>
            <a:schemeClr val="bg1"/>
          </a:solidFill>
        </p:grpSpPr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533400" y="3621091"/>
              <a:ext cx="1577975" cy="450850"/>
            </a:xfrm>
            <a:custGeom>
              <a:avLst/>
              <a:gdLst>
                <a:gd name="T0" fmla="*/ 43 w 421"/>
                <a:gd name="T1" fmla="*/ 70 h 120"/>
                <a:gd name="T2" fmla="*/ 0 w 421"/>
                <a:gd name="T3" fmla="*/ 23 h 120"/>
                <a:gd name="T4" fmla="*/ 49 w 421"/>
                <a:gd name="T5" fmla="*/ 13 h 120"/>
                <a:gd name="T6" fmla="*/ 27 w 421"/>
                <a:gd name="T7" fmla="*/ 40 h 120"/>
                <a:gd name="T8" fmla="*/ 23 w 421"/>
                <a:gd name="T9" fmla="*/ 95 h 120"/>
                <a:gd name="T10" fmla="*/ 2 w 421"/>
                <a:gd name="T11" fmla="*/ 81 h 120"/>
                <a:gd name="T12" fmla="*/ 74 w 421"/>
                <a:gd name="T13" fmla="*/ 79 h 120"/>
                <a:gd name="T14" fmla="*/ 63 w 421"/>
                <a:gd name="T15" fmla="*/ 31 h 120"/>
                <a:gd name="T16" fmla="*/ 83 w 421"/>
                <a:gd name="T17" fmla="*/ 9 h 120"/>
                <a:gd name="T18" fmla="*/ 99 w 421"/>
                <a:gd name="T19" fmla="*/ 38 h 120"/>
                <a:gd name="T20" fmla="*/ 92 w 421"/>
                <a:gd name="T21" fmla="*/ 86 h 120"/>
                <a:gd name="T22" fmla="*/ 99 w 421"/>
                <a:gd name="T23" fmla="*/ 94 h 120"/>
                <a:gd name="T24" fmla="*/ 120 w 421"/>
                <a:gd name="T25" fmla="*/ 31 h 120"/>
                <a:gd name="T26" fmla="*/ 142 w 421"/>
                <a:gd name="T27" fmla="*/ 29 h 120"/>
                <a:gd name="T28" fmla="*/ 120 w 421"/>
                <a:gd name="T29" fmla="*/ 94 h 120"/>
                <a:gd name="T30" fmla="*/ 183 w 421"/>
                <a:gd name="T31" fmla="*/ 94 h 120"/>
                <a:gd name="T32" fmla="*/ 164 w 421"/>
                <a:gd name="T33" fmla="*/ 95 h 120"/>
                <a:gd name="T34" fmla="*/ 183 w 421"/>
                <a:gd name="T35" fmla="*/ 56 h 120"/>
                <a:gd name="T36" fmla="*/ 149 w 421"/>
                <a:gd name="T37" fmla="*/ 47 h 120"/>
                <a:gd name="T38" fmla="*/ 192 w 421"/>
                <a:gd name="T39" fmla="*/ 94 h 120"/>
                <a:gd name="T40" fmla="*/ 178 w 421"/>
                <a:gd name="T41" fmla="*/ 65 h 120"/>
                <a:gd name="T42" fmla="*/ 182 w 421"/>
                <a:gd name="T43" fmla="*/ 77 h 120"/>
                <a:gd name="T44" fmla="*/ 178 w 421"/>
                <a:gd name="T45" fmla="*/ 65 h 120"/>
                <a:gd name="T46" fmla="*/ 218 w 421"/>
                <a:gd name="T47" fmla="*/ 79 h 120"/>
                <a:gd name="T48" fmla="*/ 207 w 421"/>
                <a:gd name="T49" fmla="*/ 31 h 120"/>
                <a:gd name="T50" fmla="*/ 226 w 421"/>
                <a:gd name="T51" fmla="*/ 9 h 120"/>
                <a:gd name="T52" fmla="*/ 243 w 421"/>
                <a:gd name="T53" fmla="*/ 38 h 120"/>
                <a:gd name="T54" fmla="*/ 235 w 421"/>
                <a:gd name="T55" fmla="*/ 86 h 120"/>
                <a:gd name="T56" fmla="*/ 243 w 421"/>
                <a:gd name="T57" fmla="*/ 94 h 120"/>
                <a:gd name="T58" fmla="*/ 252 w 421"/>
                <a:gd name="T59" fmla="*/ 59 h 120"/>
                <a:gd name="T60" fmla="*/ 298 w 421"/>
                <a:gd name="T61" fmla="*/ 56 h 120"/>
                <a:gd name="T62" fmla="*/ 284 w 421"/>
                <a:gd name="T63" fmla="*/ 86 h 120"/>
                <a:gd name="T64" fmla="*/ 297 w 421"/>
                <a:gd name="T65" fmla="*/ 94 h 120"/>
                <a:gd name="T66" fmla="*/ 262 w 421"/>
                <a:gd name="T67" fmla="*/ 49 h 120"/>
                <a:gd name="T68" fmla="*/ 347 w 421"/>
                <a:gd name="T69" fmla="*/ 81 h 120"/>
                <a:gd name="T70" fmla="*/ 309 w 421"/>
                <a:gd name="T71" fmla="*/ 61 h 120"/>
                <a:gd name="T72" fmla="*/ 347 w 421"/>
                <a:gd name="T73" fmla="*/ 40 h 120"/>
                <a:gd name="T74" fmla="*/ 356 w 421"/>
                <a:gd name="T75" fmla="*/ 94 h 120"/>
                <a:gd name="T76" fmla="*/ 311 w 421"/>
                <a:gd name="T77" fmla="*/ 110 h 120"/>
                <a:gd name="T78" fmla="*/ 347 w 421"/>
                <a:gd name="T79" fmla="*/ 81 h 120"/>
                <a:gd name="T80" fmla="*/ 332 w 421"/>
                <a:gd name="T81" fmla="*/ 36 h 120"/>
                <a:gd name="T82" fmla="*/ 347 w 421"/>
                <a:gd name="T83" fmla="*/ 61 h 120"/>
                <a:gd name="T84" fmla="*/ 367 w 421"/>
                <a:gd name="T85" fmla="*/ 31 h 120"/>
                <a:gd name="T86" fmla="*/ 394 w 421"/>
                <a:gd name="T87" fmla="*/ 79 h 120"/>
                <a:gd name="T88" fmla="*/ 390 w 421"/>
                <a:gd name="T89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1" h="120">
                  <a:moveTo>
                    <a:pt x="2" y="81"/>
                  </a:moveTo>
                  <a:cubicBezTo>
                    <a:pt x="9" y="85"/>
                    <a:pt x="16" y="86"/>
                    <a:pt x="23" y="86"/>
                  </a:cubicBezTo>
                  <a:cubicBezTo>
                    <a:pt x="34" y="86"/>
                    <a:pt x="43" y="81"/>
                    <a:pt x="43" y="70"/>
                  </a:cubicBezTo>
                  <a:cubicBezTo>
                    <a:pt x="43" y="59"/>
                    <a:pt x="36" y="56"/>
                    <a:pt x="29" y="52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1" y="41"/>
                    <a:pt x="0" y="36"/>
                    <a:pt x="0" y="23"/>
                  </a:cubicBezTo>
                  <a:cubicBezTo>
                    <a:pt x="0" y="7"/>
                    <a:pt x="14" y="0"/>
                    <a:pt x="31" y="0"/>
                  </a:cubicBezTo>
                  <a:cubicBezTo>
                    <a:pt x="36" y="0"/>
                    <a:pt x="43" y="2"/>
                    <a:pt x="49" y="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3" y="11"/>
                    <a:pt x="36" y="9"/>
                    <a:pt x="29" y="9"/>
                  </a:cubicBezTo>
                  <a:cubicBezTo>
                    <a:pt x="20" y="9"/>
                    <a:pt x="13" y="13"/>
                    <a:pt x="13" y="23"/>
                  </a:cubicBezTo>
                  <a:cubicBezTo>
                    <a:pt x="13" y="31"/>
                    <a:pt x="20" y="36"/>
                    <a:pt x="27" y="40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7" y="50"/>
                    <a:pt x="56" y="56"/>
                    <a:pt x="56" y="68"/>
                  </a:cubicBezTo>
                  <a:cubicBezTo>
                    <a:pt x="56" y="88"/>
                    <a:pt x="40" y="95"/>
                    <a:pt x="23" y="95"/>
                  </a:cubicBezTo>
                  <a:cubicBezTo>
                    <a:pt x="16" y="95"/>
                    <a:pt x="9" y="94"/>
                    <a:pt x="2" y="92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2" y="81"/>
                    <a:pt x="2" y="81"/>
                    <a:pt x="2" y="81"/>
                  </a:cubicBezTo>
                  <a:close/>
                  <a:moveTo>
                    <a:pt x="99" y="94"/>
                  </a:moveTo>
                  <a:cubicBezTo>
                    <a:pt x="95" y="95"/>
                    <a:pt x="94" y="95"/>
                    <a:pt x="90" y="95"/>
                  </a:cubicBezTo>
                  <a:cubicBezTo>
                    <a:pt x="79" y="95"/>
                    <a:pt x="74" y="90"/>
                    <a:pt x="74" y="79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83"/>
                    <a:pt x="85" y="86"/>
                    <a:pt x="92" y="86"/>
                  </a:cubicBezTo>
                  <a:cubicBezTo>
                    <a:pt x="95" y="86"/>
                    <a:pt x="97" y="86"/>
                    <a:pt x="99" y="86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9" y="94"/>
                    <a:pt x="99" y="94"/>
                  </a:cubicBezTo>
                  <a:close/>
                  <a:moveTo>
                    <a:pt x="112" y="94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4" y="32"/>
                    <a:pt x="131" y="29"/>
                    <a:pt x="142" y="29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26" y="38"/>
                    <a:pt x="120" y="54"/>
                    <a:pt x="120" y="67"/>
                  </a:cubicBezTo>
                  <a:cubicBezTo>
                    <a:pt x="120" y="94"/>
                    <a:pt x="120" y="94"/>
                    <a:pt x="120" y="94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2" y="94"/>
                    <a:pt x="112" y="94"/>
                    <a:pt x="112" y="94"/>
                  </a:cubicBezTo>
                  <a:close/>
                  <a:moveTo>
                    <a:pt x="183" y="94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83" y="85"/>
                    <a:pt x="183" y="85"/>
                    <a:pt x="183" y="85"/>
                  </a:cubicBezTo>
                  <a:cubicBezTo>
                    <a:pt x="180" y="92"/>
                    <a:pt x="171" y="95"/>
                    <a:pt x="164" y="95"/>
                  </a:cubicBezTo>
                  <a:cubicBezTo>
                    <a:pt x="153" y="95"/>
                    <a:pt x="147" y="88"/>
                    <a:pt x="147" y="77"/>
                  </a:cubicBezTo>
                  <a:cubicBezTo>
                    <a:pt x="147" y="63"/>
                    <a:pt x="164" y="58"/>
                    <a:pt x="183" y="58"/>
                  </a:cubicBezTo>
                  <a:cubicBezTo>
                    <a:pt x="183" y="56"/>
                    <a:pt x="183" y="56"/>
                    <a:pt x="183" y="56"/>
                  </a:cubicBezTo>
                  <a:cubicBezTo>
                    <a:pt x="183" y="47"/>
                    <a:pt x="183" y="36"/>
                    <a:pt x="171" y="36"/>
                  </a:cubicBezTo>
                  <a:cubicBezTo>
                    <a:pt x="164" y="36"/>
                    <a:pt x="160" y="38"/>
                    <a:pt x="158" y="47"/>
                  </a:cubicBezTo>
                  <a:cubicBezTo>
                    <a:pt x="149" y="47"/>
                    <a:pt x="149" y="47"/>
                    <a:pt x="149" y="47"/>
                  </a:cubicBezTo>
                  <a:cubicBezTo>
                    <a:pt x="149" y="34"/>
                    <a:pt x="160" y="29"/>
                    <a:pt x="171" y="29"/>
                  </a:cubicBezTo>
                  <a:cubicBezTo>
                    <a:pt x="185" y="29"/>
                    <a:pt x="192" y="34"/>
                    <a:pt x="192" y="49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94"/>
                    <a:pt x="183" y="94"/>
                    <a:pt x="183" y="94"/>
                  </a:cubicBezTo>
                  <a:close/>
                  <a:moveTo>
                    <a:pt x="178" y="65"/>
                  </a:moveTo>
                  <a:cubicBezTo>
                    <a:pt x="171" y="65"/>
                    <a:pt x="158" y="68"/>
                    <a:pt x="158" y="77"/>
                  </a:cubicBezTo>
                  <a:cubicBezTo>
                    <a:pt x="158" y="83"/>
                    <a:pt x="162" y="86"/>
                    <a:pt x="167" y="86"/>
                  </a:cubicBezTo>
                  <a:cubicBezTo>
                    <a:pt x="173" y="86"/>
                    <a:pt x="178" y="83"/>
                    <a:pt x="182" y="77"/>
                  </a:cubicBezTo>
                  <a:cubicBezTo>
                    <a:pt x="183" y="72"/>
                    <a:pt x="183" y="70"/>
                    <a:pt x="183" y="65"/>
                  </a:cubicBezTo>
                  <a:cubicBezTo>
                    <a:pt x="178" y="65"/>
                    <a:pt x="178" y="65"/>
                    <a:pt x="178" y="65"/>
                  </a:cubicBezTo>
                  <a:cubicBezTo>
                    <a:pt x="178" y="65"/>
                    <a:pt x="178" y="65"/>
                    <a:pt x="178" y="65"/>
                  </a:cubicBezTo>
                  <a:close/>
                  <a:moveTo>
                    <a:pt x="243" y="94"/>
                  </a:moveTo>
                  <a:cubicBezTo>
                    <a:pt x="239" y="95"/>
                    <a:pt x="237" y="95"/>
                    <a:pt x="234" y="95"/>
                  </a:cubicBezTo>
                  <a:cubicBezTo>
                    <a:pt x="223" y="95"/>
                    <a:pt x="218" y="90"/>
                    <a:pt x="218" y="7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07" y="38"/>
                    <a:pt x="207" y="38"/>
                    <a:pt x="207" y="38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18" y="31"/>
                    <a:pt x="218" y="31"/>
                    <a:pt x="218" y="31"/>
                  </a:cubicBezTo>
                  <a:cubicBezTo>
                    <a:pt x="218" y="14"/>
                    <a:pt x="218" y="14"/>
                    <a:pt x="218" y="14"/>
                  </a:cubicBezTo>
                  <a:cubicBezTo>
                    <a:pt x="226" y="9"/>
                    <a:pt x="226" y="9"/>
                    <a:pt x="226" y="9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43" y="31"/>
                    <a:pt x="243" y="31"/>
                    <a:pt x="243" y="31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26" y="38"/>
                    <a:pt x="226" y="38"/>
                    <a:pt x="226" y="38"/>
                  </a:cubicBezTo>
                  <a:cubicBezTo>
                    <a:pt x="226" y="77"/>
                    <a:pt x="226" y="77"/>
                    <a:pt x="226" y="77"/>
                  </a:cubicBezTo>
                  <a:cubicBezTo>
                    <a:pt x="226" y="83"/>
                    <a:pt x="228" y="86"/>
                    <a:pt x="235" y="86"/>
                  </a:cubicBezTo>
                  <a:cubicBezTo>
                    <a:pt x="239" y="86"/>
                    <a:pt x="239" y="86"/>
                    <a:pt x="243" y="86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43" y="94"/>
                    <a:pt x="243" y="94"/>
                    <a:pt x="243" y="94"/>
                  </a:cubicBezTo>
                  <a:close/>
                  <a:moveTo>
                    <a:pt x="297" y="94"/>
                  </a:moveTo>
                  <a:cubicBezTo>
                    <a:pt x="291" y="94"/>
                    <a:pt x="288" y="95"/>
                    <a:pt x="282" y="95"/>
                  </a:cubicBezTo>
                  <a:cubicBezTo>
                    <a:pt x="261" y="95"/>
                    <a:pt x="252" y="81"/>
                    <a:pt x="252" y="59"/>
                  </a:cubicBezTo>
                  <a:cubicBezTo>
                    <a:pt x="252" y="43"/>
                    <a:pt x="257" y="29"/>
                    <a:pt x="275" y="29"/>
                  </a:cubicBezTo>
                  <a:cubicBezTo>
                    <a:pt x="291" y="29"/>
                    <a:pt x="298" y="38"/>
                    <a:pt x="298" y="52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61" y="59"/>
                    <a:pt x="261" y="59"/>
                    <a:pt x="261" y="59"/>
                  </a:cubicBezTo>
                  <a:cubicBezTo>
                    <a:pt x="261" y="74"/>
                    <a:pt x="268" y="86"/>
                    <a:pt x="284" y="86"/>
                  </a:cubicBezTo>
                  <a:cubicBezTo>
                    <a:pt x="288" y="86"/>
                    <a:pt x="293" y="86"/>
                    <a:pt x="297" y="85"/>
                  </a:cubicBezTo>
                  <a:cubicBezTo>
                    <a:pt x="297" y="94"/>
                    <a:pt x="297" y="94"/>
                    <a:pt x="297" y="94"/>
                  </a:cubicBezTo>
                  <a:cubicBezTo>
                    <a:pt x="297" y="94"/>
                    <a:pt x="297" y="94"/>
                    <a:pt x="297" y="94"/>
                  </a:cubicBezTo>
                  <a:close/>
                  <a:moveTo>
                    <a:pt x="288" y="49"/>
                  </a:moveTo>
                  <a:cubicBezTo>
                    <a:pt x="288" y="41"/>
                    <a:pt x="282" y="36"/>
                    <a:pt x="275" y="36"/>
                  </a:cubicBezTo>
                  <a:cubicBezTo>
                    <a:pt x="268" y="36"/>
                    <a:pt x="264" y="41"/>
                    <a:pt x="262" y="49"/>
                  </a:cubicBezTo>
                  <a:cubicBezTo>
                    <a:pt x="288" y="49"/>
                    <a:pt x="288" y="49"/>
                    <a:pt x="288" y="49"/>
                  </a:cubicBezTo>
                  <a:cubicBezTo>
                    <a:pt x="288" y="49"/>
                    <a:pt x="288" y="49"/>
                    <a:pt x="288" y="49"/>
                  </a:cubicBezTo>
                  <a:close/>
                  <a:moveTo>
                    <a:pt x="347" y="81"/>
                  </a:moveTo>
                  <a:cubicBezTo>
                    <a:pt x="347" y="81"/>
                    <a:pt x="347" y="81"/>
                    <a:pt x="347" y="81"/>
                  </a:cubicBezTo>
                  <a:cubicBezTo>
                    <a:pt x="343" y="88"/>
                    <a:pt x="338" y="94"/>
                    <a:pt x="329" y="94"/>
                  </a:cubicBezTo>
                  <a:cubicBezTo>
                    <a:pt x="313" y="94"/>
                    <a:pt x="309" y="76"/>
                    <a:pt x="309" y="61"/>
                  </a:cubicBezTo>
                  <a:cubicBezTo>
                    <a:pt x="309" y="49"/>
                    <a:pt x="313" y="29"/>
                    <a:pt x="331" y="29"/>
                  </a:cubicBezTo>
                  <a:cubicBezTo>
                    <a:pt x="338" y="29"/>
                    <a:pt x="345" y="32"/>
                    <a:pt x="347" y="40"/>
                  </a:cubicBezTo>
                  <a:cubicBezTo>
                    <a:pt x="347" y="40"/>
                    <a:pt x="347" y="40"/>
                    <a:pt x="347" y="40"/>
                  </a:cubicBezTo>
                  <a:cubicBezTo>
                    <a:pt x="347" y="31"/>
                    <a:pt x="347" y="31"/>
                    <a:pt x="347" y="31"/>
                  </a:cubicBezTo>
                  <a:cubicBezTo>
                    <a:pt x="356" y="31"/>
                    <a:pt x="356" y="31"/>
                    <a:pt x="356" y="31"/>
                  </a:cubicBezTo>
                  <a:cubicBezTo>
                    <a:pt x="356" y="94"/>
                    <a:pt x="356" y="94"/>
                    <a:pt x="356" y="94"/>
                  </a:cubicBezTo>
                  <a:cubicBezTo>
                    <a:pt x="356" y="112"/>
                    <a:pt x="347" y="120"/>
                    <a:pt x="329" y="120"/>
                  </a:cubicBezTo>
                  <a:cubicBezTo>
                    <a:pt x="324" y="120"/>
                    <a:pt x="318" y="120"/>
                    <a:pt x="311" y="119"/>
                  </a:cubicBezTo>
                  <a:cubicBezTo>
                    <a:pt x="311" y="110"/>
                    <a:pt x="311" y="110"/>
                    <a:pt x="311" y="110"/>
                  </a:cubicBezTo>
                  <a:cubicBezTo>
                    <a:pt x="316" y="112"/>
                    <a:pt x="322" y="113"/>
                    <a:pt x="327" y="113"/>
                  </a:cubicBezTo>
                  <a:cubicBezTo>
                    <a:pt x="341" y="113"/>
                    <a:pt x="347" y="106"/>
                    <a:pt x="347" y="92"/>
                  </a:cubicBezTo>
                  <a:cubicBezTo>
                    <a:pt x="347" y="81"/>
                    <a:pt x="347" y="81"/>
                    <a:pt x="347" y="81"/>
                  </a:cubicBezTo>
                  <a:cubicBezTo>
                    <a:pt x="347" y="81"/>
                    <a:pt x="347" y="81"/>
                    <a:pt x="347" y="81"/>
                  </a:cubicBezTo>
                  <a:close/>
                  <a:moveTo>
                    <a:pt x="347" y="61"/>
                  </a:moveTo>
                  <a:cubicBezTo>
                    <a:pt x="347" y="52"/>
                    <a:pt x="343" y="36"/>
                    <a:pt x="332" y="36"/>
                  </a:cubicBezTo>
                  <a:cubicBezTo>
                    <a:pt x="320" y="36"/>
                    <a:pt x="318" y="54"/>
                    <a:pt x="318" y="63"/>
                  </a:cubicBezTo>
                  <a:cubicBezTo>
                    <a:pt x="318" y="70"/>
                    <a:pt x="320" y="86"/>
                    <a:pt x="331" y="86"/>
                  </a:cubicBezTo>
                  <a:cubicBezTo>
                    <a:pt x="343" y="86"/>
                    <a:pt x="347" y="70"/>
                    <a:pt x="347" y="61"/>
                  </a:cubicBezTo>
                  <a:close/>
                  <a:moveTo>
                    <a:pt x="381" y="119"/>
                  </a:moveTo>
                  <a:cubicBezTo>
                    <a:pt x="390" y="94"/>
                    <a:pt x="390" y="94"/>
                    <a:pt x="390" y="94"/>
                  </a:cubicBezTo>
                  <a:cubicBezTo>
                    <a:pt x="367" y="31"/>
                    <a:pt x="367" y="31"/>
                    <a:pt x="367" y="31"/>
                  </a:cubicBezTo>
                  <a:cubicBezTo>
                    <a:pt x="376" y="31"/>
                    <a:pt x="376" y="31"/>
                    <a:pt x="376" y="31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412" y="31"/>
                    <a:pt x="412" y="31"/>
                    <a:pt x="412" y="31"/>
                  </a:cubicBezTo>
                  <a:cubicBezTo>
                    <a:pt x="421" y="31"/>
                    <a:pt x="421" y="31"/>
                    <a:pt x="421" y="31"/>
                  </a:cubicBezTo>
                  <a:cubicBezTo>
                    <a:pt x="390" y="119"/>
                    <a:pt x="390" y="119"/>
                    <a:pt x="390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81" y="119"/>
                    <a:pt x="381" y="119"/>
                    <a:pt x="381" y="1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2276475" y="3606804"/>
              <a:ext cx="30163" cy="481012"/>
            </a:xfrm>
            <a:custGeom>
              <a:avLst/>
              <a:gdLst>
                <a:gd name="T0" fmla="*/ 0 w 8"/>
                <a:gd name="T1" fmla="*/ 128 h 128"/>
                <a:gd name="T2" fmla="*/ 0 w 8"/>
                <a:gd name="T3" fmla="*/ 0 h 128"/>
                <a:gd name="T4" fmla="*/ 8 w 8"/>
                <a:gd name="T5" fmla="*/ 0 h 128"/>
                <a:gd name="T6" fmla="*/ 8 w 8"/>
                <a:gd name="T7" fmla="*/ 128 h 128"/>
                <a:gd name="T8" fmla="*/ 0 w 8"/>
                <a:gd name="T9" fmla="*/ 128 h 128"/>
                <a:gd name="T10" fmla="*/ 0 w 8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2509838" y="3629029"/>
              <a:ext cx="1169988" cy="442912"/>
            </a:xfrm>
            <a:custGeom>
              <a:avLst/>
              <a:gdLst>
                <a:gd name="T0" fmla="*/ 0 w 312"/>
                <a:gd name="T1" fmla="*/ 0 h 118"/>
                <a:gd name="T2" fmla="*/ 59 w 312"/>
                <a:gd name="T3" fmla="*/ 45 h 118"/>
                <a:gd name="T4" fmla="*/ 18 w 312"/>
                <a:gd name="T5" fmla="*/ 92 h 118"/>
                <a:gd name="T6" fmla="*/ 0 w 312"/>
                <a:gd name="T7" fmla="*/ 92 h 118"/>
                <a:gd name="T8" fmla="*/ 34 w 312"/>
                <a:gd name="T9" fmla="*/ 81 h 118"/>
                <a:gd name="T10" fmla="*/ 32 w 312"/>
                <a:gd name="T11" fmla="*/ 11 h 118"/>
                <a:gd name="T12" fmla="*/ 10 w 312"/>
                <a:gd name="T13" fmla="*/ 9 h 118"/>
                <a:gd name="T14" fmla="*/ 18 w 312"/>
                <a:gd name="T15" fmla="*/ 83 h 118"/>
                <a:gd name="T16" fmla="*/ 73 w 312"/>
                <a:gd name="T17" fmla="*/ 11 h 118"/>
                <a:gd name="T18" fmla="*/ 86 w 312"/>
                <a:gd name="T19" fmla="*/ 0 h 118"/>
                <a:gd name="T20" fmla="*/ 73 w 312"/>
                <a:gd name="T21" fmla="*/ 11 h 118"/>
                <a:gd name="T22" fmla="*/ 75 w 312"/>
                <a:gd name="T23" fmla="*/ 92 h 118"/>
                <a:gd name="T24" fmla="*/ 84 w 312"/>
                <a:gd name="T25" fmla="*/ 29 h 118"/>
                <a:gd name="T26" fmla="*/ 75 w 312"/>
                <a:gd name="T27" fmla="*/ 92 h 118"/>
                <a:gd name="T28" fmla="*/ 140 w 312"/>
                <a:gd name="T29" fmla="*/ 79 h 118"/>
                <a:gd name="T30" fmla="*/ 122 w 312"/>
                <a:gd name="T31" fmla="*/ 92 h 118"/>
                <a:gd name="T32" fmla="*/ 122 w 312"/>
                <a:gd name="T33" fmla="*/ 27 h 118"/>
                <a:gd name="T34" fmla="*/ 140 w 312"/>
                <a:gd name="T35" fmla="*/ 38 h 118"/>
                <a:gd name="T36" fmla="*/ 149 w 312"/>
                <a:gd name="T37" fmla="*/ 29 h 118"/>
                <a:gd name="T38" fmla="*/ 122 w 312"/>
                <a:gd name="T39" fmla="*/ 118 h 118"/>
                <a:gd name="T40" fmla="*/ 104 w 312"/>
                <a:gd name="T41" fmla="*/ 108 h 118"/>
                <a:gd name="T42" fmla="*/ 140 w 312"/>
                <a:gd name="T43" fmla="*/ 90 h 118"/>
                <a:gd name="T44" fmla="*/ 140 w 312"/>
                <a:gd name="T45" fmla="*/ 79 h 118"/>
                <a:gd name="T46" fmla="*/ 124 w 312"/>
                <a:gd name="T47" fmla="*/ 34 h 118"/>
                <a:gd name="T48" fmla="*/ 124 w 312"/>
                <a:gd name="T49" fmla="*/ 84 h 118"/>
                <a:gd name="T50" fmla="*/ 167 w 312"/>
                <a:gd name="T51" fmla="*/ 11 h 118"/>
                <a:gd name="T52" fmla="*/ 179 w 312"/>
                <a:gd name="T53" fmla="*/ 0 h 118"/>
                <a:gd name="T54" fmla="*/ 167 w 312"/>
                <a:gd name="T55" fmla="*/ 11 h 118"/>
                <a:gd name="T56" fmla="*/ 168 w 312"/>
                <a:gd name="T57" fmla="*/ 92 h 118"/>
                <a:gd name="T58" fmla="*/ 177 w 312"/>
                <a:gd name="T59" fmla="*/ 29 h 118"/>
                <a:gd name="T60" fmla="*/ 168 w 312"/>
                <a:gd name="T61" fmla="*/ 92 h 118"/>
                <a:gd name="T62" fmla="*/ 230 w 312"/>
                <a:gd name="T63" fmla="*/ 92 h 118"/>
                <a:gd name="T64" fmla="*/ 203 w 312"/>
                <a:gd name="T65" fmla="*/ 77 h 118"/>
                <a:gd name="T66" fmla="*/ 194 w 312"/>
                <a:gd name="T67" fmla="*/ 36 h 118"/>
                <a:gd name="T68" fmla="*/ 203 w 312"/>
                <a:gd name="T69" fmla="*/ 29 h 118"/>
                <a:gd name="T70" fmla="*/ 212 w 312"/>
                <a:gd name="T71" fmla="*/ 7 h 118"/>
                <a:gd name="T72" fmla="*/ 230 w 312"/>
                <a:gd name="T73" fmla="*/ 29 h 118"/>
                <a:gd name="T74" fmla="*/ 212 w 312"/>
                <a:gd name="T75" fmla="*/ 36 h 118"/>
                <a:gd name="T76" fmla="*/ 222 w 312"/>
                <a:gd name="T77" fmla="*/ 84 h 118"/>
                <a:gd name="T78" fmla="*/ 230 w 312"/>
                <a:gd name="T79" fmla="*/ 92 h 118"/>
                <a:gd name="T80" fmla="*/ 273 w 312"/>
                <a:gd name="T81" fmla="*/ 92 h 118"/>
                <a:gd name="T82" fmla="*/ 273 w 312"/>
                <a:gd name="T83" fmla="*/ 83 h 118"/>
                <a:gd name="T84" fmla="*/ 237 w 312"/>
                <a:gd name="T85" fmla="*/ 75 h 118"/>
                <a:gd name="T86" fmla="*/ 273 w 312"/>
                <a:gd name="T87" fmla="*/ 54 h 118"/>
                <a:gd name="T88" fmla="*/ 247 w 312"/>
                <a:gd name="T89" fmla="*/ 45 h 118"/>
                <a:gd name="T90" fmla="*/ 260 w 312"/>
                <a:gd name="T91" fmla="*/ 27 h 118"/>
                <a:gd name="T92" fmla="*/ 282 w 312"/>
                <a:gd name="T93" fmla="*/ 92 h 118"/>
                <a:gd name="T94" fmla="*/ 273 w 312"/>
                <a:gd name="T95" fmla="*/ 92 h 118"/>
                <a:gd name="T96" fmla="*/ 247 w 312"/>
                <a:gd name="T97" fmla="*/ 75 h 118"/>
                <a:gd name="T98" fmla="*/ 271 w 312"/>
                <a:gd name="T99" fmla="*/ 75 h 118"/>
                <a:gd name="T100" fmla="*/ 267 w 312"/>
                <a:gd name="T101" fmla="*/ 63 h 118"/>
                <a:gd name="T102" fmla="*/ 303 w 312"/>
                <a:gd name="T103" fmla="*/ 92 h 118"/>
                <a:gd name="T104" fmla="*/ 312 w 312"/>
                <a:gd name="T105" fmla="*/ 0 h 118"/>
                <a:gd name="T106" fmla="*/ 303 w 312"/>
                <a:gd name="T107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2" h="118">
                  <a:moveTo>
                    <a:pt x="0" y="9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50" y="0"/>
                    <a:pt x="59" y="18"/>
                    <a:pt x="59" y="45"/>
                  </a:cubicBezTo>
                  <a:cubicBezTo>
                    <a:pt x="59" y="63"/>
                    <a:pt x="55" y="83"/>
                    <a:pt x="37" y="88"/>
                  </a:cubicBezTo>
                  <a:cubicBezTo>
                    <a:pt x="30" y="92"/>
                    <a:pt x="25" y="92"/>
                    <a:pt x="18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2"/>
                    <a:pt x="0" y="92"/>
                  </a:cubicBezTo>
                  <a:close/>
                  <a:moveTo>
                    <a:pt x="18" y="83"/>
                  </a:moveTo>
                  <a:cubicBezTo>
                    <a:pt x="23" y="83"/>
                    <a:pt x="28" y="83"/>
                    <a:pt x="34" y="81"/>
                  </a:cubicBezTo>
                  <a:cubicBezTo>
                    <a:pt x="46" y="74"/>
                    <a:pt x="48" y="57"/>
                    <a:pt x="48" y="45"/>
                  </a:cubicBezTo>
                  <a:cubicBezTo>
                    <a:pt x="48" y="32"/>
                    <a:pt x="46" y="16"/>
                    <a:pt x="32" y="11"/>
                  </a:cubicBezTo>
                  <a:cubicBezTo>
                    <a:pt x="26" y="9"/>
                    <a:pt x="21" y="9"/>
                    <a:pt x="16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lose/>
                  <a:moveTo>
                    <a:pt x="73" y="11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close/>
                  <a:moveTo>
                    <a:pt x="75" y="92"/>
                  </a:moveTo>
                  <a:cubicBezTo>
                    <a:pt x="75" y="29"/>
                    <a:pt x="75" y="29"/>
                    <a:pt x="75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75" y="92"/>
                    <a:pt x="75" y="92"/>
                    <a:pt x="75" y="92"/>
                  </a:cubicBezTo>
                  <a:cubicBezTo>
                    <a:pt x="75" y="92"/>
                    <a:pt x="75" y="92"/>
                    <a:pt x="75" y="92"/>
                  </a:cubicBezTo>
                  <a:close/>
                  <a:moveTo>
                    <a:pt x="140" y="79"/>
                  </a:moveTo>
                  <a:cubicBezTo>
                    <a:pt x="140" y="79"/>
                    <a:pt x="140" y="79"/>
                    <a:pt x="140" y="79"/>
                  </a:cubicBezTo>
                  <a:cubicBezTo>
                    <a:pt x="136" y="86"/>
                    <a:pt x="131" y="92"/>
                    <a:pt x="122" y="92"/>
                  </a:cubicBezTo>
                  <a:cubicBezTo>
                    <a:pt x="106" y="92"/>
                    <a:pt x="100" y="74"/>
                    <a:pt x="100" y="59"/>
                  </a:cubicBezTo>
                  <a:cubicBezTo>
                    <a:pt x="100" y="47"/>
                    <a:pt x="106" y="27"/>
                    <a:pt x="122" y="27"/>
                  </a:cubicBezTo>
                  <a:cubicBezTo>
                    <a:pt x="131" y="27"/>
                    <a:pt x="136" y="30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29"/>
                    <a:pt x="140" y="29"/>
                    <a:pt x="140" y="29"/>
                  </a:cubicBezTo>
                  <a:cubicBezTo>
                    <a:pt x="149" y="29"/>
                    <a:pt x="149" y="29"/>
                    <a:pt x="149" y="29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49" y="110"/>
                    <a:pt x="140" y="118"/>
                    <a:pt x="122" y="118"/>
                  </a:cubicBezTo>
                  <a:cubicBezTo>
                    <a:pt x="115" y="118"/>
                    <a:pt x="111" y="118"/>
                    <a:pt x="104" y="117"/>
                  </a:cubicBezTo>
                  <a:cubicBezTo>
                    <a:pt x="104" y="108"/>
                    <a:pt x="104" y="108"/>
                    <a:pt x="104" y="108"/>
                  </a:cubicBezTo>
                  <a:cubicBezTo>
                    <a:pt x="109" y="110"/>
                    <a:pt x="115" y="111"/>
                    <a:pt x="120" y="111"/>
                  </a:cubicBezTo>
                  <a:cubicBezTo>
                    <a:pt x="134" y="111"/>
                    <a:pt x="140" y="104"/>
                    <a:pt x="140" y="90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79"/>
                    <a:pt x="140" y="79"/>
                    <a:pt x="140" y="79"/>
                  </a:cubicBezTo>
                  <a:close/>
                  <a:moveTo>
                    <a:pt x="140" y="59"/>
                  </a:moveTo>
                  <a:cubicBezTo>
                    <a:pt x="140" y="50"/>
                    <a:pt x="136" y="34"/>
                    <a:pt x="124" y="34"/>
                  </a:cubicBezTo>
                  <a:cubicBezTo>
                    <a:pt x="113" y="34"/>
                    <a:pt x="111" y="52"/>
                    <a:pt x="111" y="61"/>
                  </a:cubicBezTo>
                  <a:cubicBezTo>
                    <a:pt x="111" y="68"/>
                    <a:pt x="113" y="84"/>
                    <a:pt x="124" y="84"/>
                  </a:cubicBezTo>
                  <a:cubicBezTo>
                    <a:pt x="136" y="84"/>
                    <a:pt x="140" y="68"/>
                    <a:pt x="140" y="59"/>
                  </a:cubicBezTo>
                  <a:close/>
                  <a:moveTo>
                    <a:pt x="167" y="11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1"/>
                    <a:pt x="179" y="11"/>
                    <a:pt x="179" y="11"/>
                  </a:cubicBezTo>
                  <a:cubicBezTo>
                    <a:pt x="167" y="11"/>
                    <a:pt x="167" y="11"/>
                    <a:pt x="167" y="11"/>
                  </a:cubicBezTo>
                  <a:cubicBezTo>
                    <a:pt x="167" y="11"/>
                    <a:pt x="167" y="11"/>
                    <a:pt x="167" y="11"/>
                  </a:cubicBezTo>
                  <a:close/>
                  <a:moveTo>
                    <a:pt x="168" y="92"/>
                  </a:moveTo>
                  <a:cubicBezTo>
                    <a:pt x="168" y="29"/>
                    <a:pt x="168" y="29"/>
                    <a:pt x="168" y="29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77" y="92"/>
                    <a:pt x="177" y="92"/>
                    <a:pt x="177" y="92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68" y="92"/>
                    <a:pt x="168" y="92"/>
                  </a:cubicBezTo>
                  <a:close/>
                  <a:moveTo>
                    <a:pt x="230" y="92"/>
                  </a:moveTo>
                  <a:cubicBezTo>
                    <a:pt x="226" y="93"/>
                    <a:pt x="224" y="93"/>
                    <a:pt x="221" y="93"/>
                  </a:cubicBezTo>
                  <a:cubicBezTo>
                    <a:pt x="208" y="93"/>
                    <a:pt x="203" y="88"/>
                    <a:pt x="203" y="77"/>
                  </a:cubicBezTo>
                  <a:cubicBezTo>
                    <a:pt x="203" y="36"/>
                    <a:pt x="203" y="36"/>
                    <a:pt x="203" y="36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203" y="29"/>
                    <a:pt x="203" y="29"/>
                    <a:pt x="203" y="29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30" y="29"/>
                    <a:pt x="230" y="29"/>
                    <a:pt x="230" y="29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12" y="36"/>
                    <a:pt x="212" y="36"/>
                    <a:pt x="212" y="36"/>
                  </a:cubicBezTo>
                  <a:cubicBezTo>
                    <a:pt x="212" y="75"/>
                    <a:pt x="212" y="75"/>
                    <a:pt x="212" y="75"/>
                  </a:cubicBezTo>
                  <a:cubicBezTo>
                    <a:pt x="212" y="81"/>
                    <a:pt x="215" y="84"/>
                    <a:pt x="222" y="84"/>
                  </a:cubicBezTo>
                  <a:cubicBezTo>
                    <a:pt x="226" y="84"/>
                    <a:pt x="226" y="84"/>
                    <a:pt x="230" y="84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30" y="92"/>
                    <a:pt x="230" y="92"/>
                    <a:pt x="230" y="92"/>
                  </a:cubicBezTo>
                  <a:close/>
                  <a:moveTo>
                    <a:pt x="273" y="92"/>
                  </a:moveTo>
                  <a:cubicBezTo>
                    <a:pt x="273" y="83"/>
                    <a:pt x="273" y="83"/>
                    <a:pt x="273" y="83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69" y="90"/>
                    <a:pt x="260" y="93"/>
                    <a:pt x="253" y="93"/>
                  </a:cubicBezTo>
                  <a:cubicBezTo>
                    <a:pt x="242" y="93"/>
                    <a:pt x="237" y="86"/>
                    <a:pt x="237" y="75"/>
                  </a:cubicBezTo>
                  <a:cubicBezTo>
                    <a:pt x="237" y="61"/>
                    <a:pt x="253" y="56"/>
                    <a:pt x="273" y="56"/>
                  </a:cubicBezTo>
                  <a:cubicBezTo>
                    <a:pt x="273" y="54"/>
                    <a:pt x="273" y="54"/>
                    <a:pt x="273" y="54"/>
                  </a:cubicBezTo>
                  <a:cubicBezTo>
                    <a:pt x="273" y="45"/>
                    <a:pt x="274" y="34"/>
                    <a:pt x="262" y="34"/>
                  </a:cubicBezTo>
                  <a:cubicBezTo>
                    <a:pt x="253" y="34"/>
                    <a:pt x="249" y="36"/>
                    <a:pt x="247" y="45"/>
                  </a:cubicBezTo>
                  <a:cubicBezTo>
                    <a:pt x="238" y="45"/>
                    <a:pt x="238" y="45"/>
                    <a:pt x="238" y="45"/>
                  </a:cubicBezTo>
                  <a:cubicBezTo>
                    <a:pt x="238" y="32"/>
                    <a:pt x="249" y="27"/>
                    <a:pt x="260" y="27"/>
                  </a:cubicBezTo>
                  <a:cubicBezTo>
                    <a:pt x="274" y="27"/>
                    <a:pt x="282" y="32"/>
                    <a:pt x="282" y="47"/>
                  </a:cubicBezTo>
                  <a:cubicBezTo>
                    <a:pt x="282" y="92"/>
                    <a:pt x="282" y="92"/>
                    <a:pt x="282" y="92"/>
                  </a:cubicBezTo>
                  <a:cubicBezTo>
                    <a:pt x="273" y="92"/>
                    <a:pt x="273" y="92"/>
                    <a:pt x="273" y="92"/>
                  </a:cubicBezTo>
                  <a:cubicBezTo>
                    <a:pt x="273" y="92"/>
                    <a:pt x="273" y="92"/>
                    <a:pt x="273" y="92"/>
                  </a:cubicBezTo>
                  <a:close/>
                  <a:moveTo>
                    <a:pt x="267" y="63"/>
                  </a:moveTo>
                  <a:cubicBezTo>
                    <a:pt x="260" y="63"/>
                    <a:pt x="247" y="66"/>
                    <a:pt x="247" y="75"/>
                  </a:cubicBezTo>
                  <a:cubicBezTo>
                    <a:pt x="247" y="81"/>
                    <a:pt x="251" y="84"/>
                    <a:pt x="256" y="84"/>
                  </a:cubicBezTo>
                  <a:cubicBezTo>
                    <a:pt x="262" y="84"/>
                    <a:pt x="269" y="81"/>
                    <a:pt x="271" y="75"/>
                  </a:cubicBezTo>
                  <a:cubicBezTo>
                    <a:pt x="273" y="70"/>
                    <a:pt x="273" y="68"/>
                    <a:pt x="273" y="63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3"/>
                    <a:pt x="267" y="63"/>
                    <a:pt x="267" y="63"/>
                  </a:cubicBezTo>
                  <a:close/>
                  <a:moveTo>
                    <a:pt x="303" y="92"/>
                  </a:moveTo>
                  <a:cubicBezTo>
                    <a:pt x="303" y="0"/>
                    <a:pt x="303" y="0"/>
                    <a:pt x="303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2" y="92"/>
                    <a:pt x="312" y="92"/>
                    <a:pt x="312" y="92"/>
                  </a:cubicBezTo>
                  <a:cubicBezTo>
                    <a:pt x="303" y="92"/>
                    <a:pt x="303" y="92"/>
                    <a:pt x="303" y="92"/>
                  </a:cubicBezTo>
                  <a:cubicBezTo>
                    <a:pt x="303" y="92"/>
                    <a:pt x="303" y="92"/>
                    <a:pt x="303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3889375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4076700" y="3629029"/>
              <a:ext cx="2130425" cy="442912"/>
            </a:xfrm>
            <a:custGeom>
              <a:avLst/>
              <a:gdLst>
                <a:gd name="T0" fmla="*/ 0 w 568"/>
                <a:gd name="T1" fmla="*/ 9 h 118"/>
                <a:gd name="T2" fmla="*/ 54 w 568"/>
                <a:gd name="T3" fmla="*/ 9 h 118"/>
                <a:gd name="T4" fmla="*/ 22 w 568"/>
                <a:gd name="T5" fmla="*/ 92 h 118"/>
                <a:gd name="T6" fmla="*/ 88 w 568"/>
                <a:gd name="T7" fmla="*/ 93 h 118"/>
                <a:gd name="T8" fmla="*/ 103 w 568"/>
                <a:gd name="T9" fmla="*/ 50 h 118"/>
                <a:gd name="T10" fmla="*/ 67 w 568"/>
                <a:gd name="T11" fmla="*/ 57 h 118"/>
                <a:gd name="T12" fmla="*/ 103 w 568"/>
                <a:gd name="T13" fmla="*/ 92 h 118"/>
                <a:gd name="T14" fmla="*/ 81 w 568"/>
                <a:gd name="T15" fmla="*/ 34 h 118"/>
                <a:gd name="T16" fmla="*/ 94 w 568"/>
                <a:gd name="T17" fmla="*/ 47 h 118"/>
                <a:gd name="T18" fmla="*/ 113 w 568"/>
                <a:gd name="T19" fmla="*/ 57 h 118"/>
                <a:gd name="T20" fmla="*/ 151 w 568"/>
                <a:gd name="T21" fmla="*/ 47 h 118"/>
                <a:gd name="T22" fmla="*/ 149 w 568"/>
                <a:gd name="T23" fmla="*/ 84 h 118"/>
                <a:gd name="T24" fmla="*/ 160 w 568"/>
                <a:gd name="T25" fmla="*/ 92 h 118"/>
                <a:gd name="T26" fmla="*/ 201 w 568"/>
                <a:gd name="T27" fmla="*/ 36 h 118"/>
                <a:gd name="T28" fmla="*/ 174 w 568"/>
                <a:gd name="T29" fmla="*/ 92 h 118"/>
                <a:gd name="T30" fmla="*/ 183 w 568"/>
                <a:gd name="T31" fmla="*/ 43 h 118"/>
                <a:gd name="T32" fmla="*/ 219 w 568"/>
                <a:gd name="T33" fmla="*/ 47 h 118"/>
                <a:gd name="T34" fmla="*/ 210 w 568"/>
                <a:gd name="T35" fmla="*/ 92 h 118"/>
                <a:gd name="T36" fmla="*/ 266 w 568"/>
                <a:gd name="T37" fmla="*/ 36 h 118"/>
                <a:gd name="T38" fmla="*/ 239 w 568"/>
                <a:gd name="T39" fmla="*/ 92 h 118"/>
                <a:gd name="T40" fmla="*/ 248 w 568"/>
                <a:gd name="T41" fmla="*/ 43 h 118"/>
                <a:gd name="T42" fmla="*/ 284 w 568"/>
                <a:gd name="T43" fmla="*/ 47 h 118"/>
                <a:gd name="T44" fmla="*/ 275 w 568"/>
                <a:gd name="T45" fmla="*/ 92 h 118"/>
                <a:gd name="T46" fmla="*/ 351 w 568"/>
                <a:gd name="T47" fmla="*/ 59 h 118"/>
                <a:gd name="T48" fmla="*/ 342 w 568"/>
                <a:gd name="T49" fmla="*/ 59 h 118"/>
                <a:gd name="T50" fmla="*/ 325 w 568"/>
                <a:gd name="T51" fmla="*/ 84 h 118"/>
                <a:gd name="T52" fmla="*/ 367 w 568"/>
                <a:gd name="T53" fmla="*/ 0 h 118"/>
                <a:gd name="T54" fmla="*/ 367 w 568"/>
                <a:gd name="T55" fmla="*/ 92 h 118"/>
                <a:gd name="T56" fmla="*/ 419 w 568"/>
                <a:gd name="T57" fmla="*/ 27 h 118"/>
                <a:gd name="T58" fmla="*/ 394 w 568"/>
                <a:gd name="T59" fmla="*/ 59 h 118"/>
                <a:gd name="T60" fmla="*/ 403 w 568"/>
                <a:gd name="T61" fmla="*/ 59 h 118"/>
                <a:gd name="T62" fmla="*/ 494 w 568"/>
                <a:gd name="T63" fmla="*/ 79 h 118"/>
                <a:gd name="T64" fmla="*/ 455 w 568"/>
                <a:gd name="T65" fmla="*/ 59 h 118"/>
                <a:gd name="T66" fmla="*/ 494 w 568"/>
                <a:gd name="T67" fmla="*/ 38 h 118"/>
                <a:gd name="T68" fmla="*/ 503 w 568"/>
                <a:gd name="T69" fmla="*/ 92 h 118"/>
                <a:gd name="T70" fmla="*/ 458 w 568"/>
                <a:gd name="T71" fmla="*/ 108 h 118"/>
                <a:gd name="T72" fmla="*/ 494 w 568"/>
                <a:gd name="T73" fmla="*/ 79 h 118"/>
                <a:gd name="T74" fmla="*/ 478 w 568"/>
                <a:gd name="T75" fmla="*/ 34 h 118"/>
                <a:gd name="T76" fmla="*/ 494 w 568"/>
                <a:gd name="T77" fmla="*/ 59 h 118"/>
                <a:gd name="T78" fmla="*/ 512 w 568"/>
                <a:gd name="T79" fmla="*/ 29 h 118"/>
                <a:gd name="T80" fmla="*/ 541 w 568"/>
                <a:gd name="T81" fmla="*/ 77 h 118"/>
                <a:gd name="T82" fmla="*/ 537 w 568"/>
                <a:gd name="T83" fmla="*/ 11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68" h="118">
                  <a:moveTo>
                    <a:pt x="22" y="92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22" y="92"/>
                    <a:pt x="22" y="92"/>
                    <a:pt x="22" y="92"/>
                  </a:cubicBezTo>
                  <a:close/>
                  <a:moveTo>
                    <a:pt x="103" y="92"/>
                  </a:moveTo>
                  <a:cubicBezTo>
                    <a:pt x="97" y="92"/>
                    <a:pt x="92" y="93"/>
                    <a:pt x="88" y="93"/>
                  </a:cubicBezTo>
                  <a:cubicBezTo>
                    <a:pt x="65" y="93"/>
                    <a:pt x="56" y="79"/>
                    <a:pt x="56" y="57"/>
                  </a:cubicBezTo>
                  <a:cubicBezTo>
                    <a:pt x="56" y="41"/>
                    <a:pt x="63" y="27"/>
                    <a:pt x="81" y="27"/>
                  </a:cubicBezTo>
                  <a:cubicBezTo>
                    <a:pt x="95" y="27"/>
                    <a:pt x="103" y="36"/>
                    <a:pt x="103" y="50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72"/>
                    <a:pt x="74" y="84"/>
                    <a:pt x="90" y="84"/>
                  </a:cubicBezTo>
                  <a:cubicBezTo>
                    <a:pt x="94" y="84"/>
                    <a:pt x="97" y="84"/>
                    <a:pt x="103" y="83"/>
                  </a:cubicBezTo>
                  <a:cubicBezTo>
                    <a:pt x="103" y="92"/>
                    <a:pt x="103" y="92"/>
                    <a:pt x="103" y="92"/>
                  </a:cubicBezTo>
                  <a:cubicBezTo>
                    <a:pt x="103" y="92"/>
                    <a:pt x="103" y="92"/>
                    <a:pt x="103" y="92"/>
                  </a:cubicBezTo>
                  <a:close/>
                  <a:moveTo>
                    <a:pt x="94" y="47"/>
                  </a:moveTo>
                  <a:cubicBezTo>
                    <a:pt x="94" y="39"/>
                    <a:pt x="88" y="34"/>
                    <a:pt x="81" y="34"/>
                  </a:cubicBezTo>
                  <a:cubicBezTo>
                    <a:pt x="74" y="34"/>
                    <a:pt x="68" y="39"/>
                    <a:pt x="67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lose/>
                  <a:moveTo>
                    <a:pt x="160" y="92"/>
                  </a:moveTo>
                  <a:cubicBezTo>
                    <a:pt x="155" y="92"/>
                    <a:pt x="151" y="93"/>
                    <a:pt x="146" y="93"/>
                  </a:cubicBezTo>
                  <a:cubicBezTo>
                    <a:pt x="124" y="93"/>
                    <a:pt x="113" y="79"/>
                    <a:pt x="113" y="57"/>
                  </a:cubicBezTo>
                  <a:cubicBezTo>
                    <a:pt x="113" y="41"/>
                    <a:pt x="121" y="27"/>
                    <a:pt x="140" y="27"/>
                  </a:cubicBezTo>
                  <a:cubicBezTo>
                    <a:pt x="153" y="27"/>
                    <a:pt x="162" y="34"/>
                    <a:pt x="162" y="47"/>
                  </a:cubicBezTo>
                  <a:cubicBezTo>
                    <a:pt x="151" y="47"/>
                    <a:pt x="151" y="47"/>
                    <a:pt x="151" y="47"/>
                  </a:cubicBezTo>
                  <a:cubicBezTo>
                    <a:pt x="151" y="39"/>
                    <a:pt x="147" y="34"/>
                    <a:pt x="139" y="34"/>
                  </a:cubicBezTo>
                  <a:cubicBezTo>
                    <a:pt x="128" y="34"/>
                    <a:pt x="124" y="47"/>
                    <a:pt x="124" y="56"/>
                  </a:cubicBezTo>
                  <a:cubicBezTo>
                    <a:pt x="124" y="72"/>
                    <a:pt x="131" y="84"/>
                    <a:pt x="149" y="84"/>
                  </a:cubicBezTo>
                  <a:cubicBezTo>
                    <a:pt x="153" y="84"/>
                    <a:pt x="156" y="84"/>
                    <a:pt x="160" y="84"/>
                  </a:cubicBezTo>
                  <a:cubicBezTo>
                    <a:pt x="160" y="92"/>
                    <a:pt x="160" y="92"/>
                    <a:pt x="160" y="92"/>
                  </a:cubicBezTo>
                  <a:cubicBezTo>
                    <a:pt x="160" y="92"/>
                    <a:pt x="160" y="92"/>
                    <a:pt x="160" y="92"/>
                  </a:cubicBezTo>
                  <a:close/>
                  <a:moveTo>
                    <a:pt x="210" y="92"/>
                  </a:moveTo>
                  <a:cubicBezTo>
                    <a:pt x="210" y="56"/>
                    <a:pt x="210" y="56"/>
                    <a:pt x="210" y="56"/>
                  </a:cubicBezTo>
                  <a:cubicBezTo>
                    <a:pt x="210" y="48"/>
                    <a:pt x="210" y="36"/>
                    <a:pt x="201" y="36"/>
                  </a:cubicBezTo>
                  <a:cubicBezTo>
                    <a:pt x="189" y="36"/>
                    <a:pt x="183" y="56"/>
                    <a:pt x="183" y="65"/>
                  </a:cubicBezTo>
                  <a:cubicBezTo>
                    <a:pt x="183" y="92"/>
                    <a:pt x="183" y="92"/>
                    <a:pt x="183" y="92"/>
                  </a:cubicBezTo>
                  <a:cubicBezTo>
                    <a:pt x="174" y="92"/>
                    <a:pt x="174" y="92"/>
                    <a:pt x="174" y="92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7" y="32"/>
                    <a:pt x="192" y="27"/>
                    <a:pt x="203" y="27"/>
                  </a:cubicBezTo>
                  <a:cubicBezTo>
                    <a:pt x="214" y="27"/>
                    <a:pt x="219" y="36"/>
                    <a:pt x="219" y="47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0" y="92"/>
                    <a:pt x="210" y="92"/>
                    <a:pt x="210" y="92"/>
                  </a:cubicBezTo>
                  <a:cubicBezTo>
                    <a:pt x="210" y="92"/>
                    <a:pt x="210" y="92"/>
                    <a:pt x="210" y="92"/>
                  </a:cubicBezTo>
                  <a:close/>
                  <a:moveTo>
                    <a:pt x="275" y="92"/>
                  </a:moveTo>
                  <a:cubicBezTo>
                    <a:pt x="275" y="56"/>
                    <a:pt x="275" y="56"/>
                    <a:pt x="275" y="56"/>
                  </a:cubicBezTo>
                  <a:cubicBezTo>
                    <a:pt x="275" y="48"/>
                    <a:pt x="277" y="36"/>
                    <a:pt x="266" y="36"/>
                  </a:cubicBezTo>
                  <a:cubicBezTo>
                    <a:pt x="254" y="36"/>
                    <a:pt x="248" y="56"/>
                    <a:pt x="248" y="65"/>
                  </a:cubicBezTo>
                  <a:cubicBezTo>
                    <a:pt x="248" y="92"/>
                    <a:pt x="248" y="92"/>
                    <a:pt x="248" y="92"/>
                  </a:cubicBezTo>
                  <a:cubicBezTo>
                    <a:pt x="239" y="92"/>
                    <a:pt x="239" y="92"/>
                    <a:pt x="239" y="92"/>
                  </a:cubicBezTo>
                  <a:cubicBezTo>
                    <a:pt x="239" y="29"/>
                    <a:pt x="239" y="29"/>
                    <a:pt x="239" y="29"/>
                  </a:cubicBezTo>
                  <a:cubicBezTo>
                    <a:pt x="248" y="29"/>
                    <a:pt x="248" y="29"/>
                    <a:pt x="248" y="29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52" y="32"/>
                    <a:pt x="257" y="27"/>
                    <a:pt x="268" y="27"/>
                  </a:cubicBezTo>
                  <a:cubicBezTo>
                    <a:pt x="279" y="27"/>
                    <a:pt x="284" y="36"/>
                    <a:pt x="284" y="47"/>
                  </a:cubicBezTo>
                  <a:cubicBezTo>
                    <a:pt x="284" y="92"/>
                    <a:pt x="284" y="92"/>
                    <a:pt x="284" y="92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5" y="92"/>
                    <a:pt x="275" y="92"/>
                    <a:pt x="275" y="92"/>
                  </a:cubicBezTo>
                  <a:close/>
                  <a:moveTo>
                    <a:pt x="300" y="59"/>
                  </a:moveTo>
                  <a:cubicBezTo>
                    <a:pt x="300" y="43"/>
                    <a:pt x="306" y="27"/>
                    <a:pt x="325" y="27"/>
                  </a:cubicBezTo>
                  <a:cubicBezTo>
                    <a:pt x="345" y="27"/>
                    <a:pt x="351" y="43"/>
                    <a:pt x="351" y="59"/>
                  </a:cubicBezTo>
                  <a:cubicBezTo>
                    <a:pt x="351" y="77"/>
                    <a:pt x="345" y="93"/>
                    <a:pt x="325" y="93"/>
                  </a:cubicBezTo>
                  <a:cubicBezTo>
                    <a:pt x="306" y="93"/>
                    <a:pt x="300" y="77"/>
                    <a:pt x="300" y="59"/>
                  </a:cubicBezTo>
                  <a:close/>
                  <a:moveTo>
                    <a:pt x="342" y="59"/>
                  </a:moveTo>
                  <a:cubicBezTo>
                    <a:pt x="342" y="50"/>
                    <a:pt x="338" y="34"/>
                    <a:pt x="325" y="34"/>
                  </a:cubicBezTo>
                  <a:cubicBezTo>
                    <a:pt x="313" y="34"/>
                    <a:pt x="309" y="50"/>
                    <a:pt x="309" y="59"/>
                  </a:cubicBezTo>
                  <a:cubicBezTo>
                    <a:pt x="309" y="70"/>
                    <a:pt x="313" y="84"/>
                    <a:pt x="325" y="84"/>
                  </a:cubicBezTo>
                  <a:cubicBezTo>
                    <a:pt x="338" y="84"/>
                    <a:pt x="342" y="70"/>
                    <a:pt x="342" y="59"/>
                  </a:cubicBezTo>
                  <a:close/>
                  <a:moveTo>
                    <a:pt x="367" y="92"/>
                  </a:moveTo>
                  <a:cubicBezTo>
                    <a:pt x="367" y="0"/>
                    <a:pt x="367" y="0"/>
                    <a:pt x="367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67" y="92"/>
                    <a:pt x="367" y="92"/>
                    <a:pt x="367" y="92"/>
                  </a:cubicBezTo>
                  <a:cubicBezTo>
                    <a:pt x="367" y="92"/>
                    <a:pt x="367" y="92"/>
                    <a:pt x="367" y="92"/>
                  </a:cubicBezTo>
                  <a:close/>
                  <a:moveTo>
                    <a:pt x="394" y="59"/>
                  </a:moveTo>
                  <a:cubicBezTo>
                    <a:pt x="394" y="43"/>
                    <a:pt x="399" y="27"/>
                    <a:pt x="419" y="27"/>
                  </a:cubicBezTo>
                  <a:cubicBezTo>
                    <a:pt x="439" y="27"/>
                    <a:pt x="444" y="43"/>
                    <a:pt x="444" y="59"/>
                  </a:cubicBezTo>
                  <a:cubicBezTo>
                    <a:pt x="444" y="77"/>
                    <a:pt x="439" y="93"/>
                    <a:pt x="419" y="93"/>
                  </a:cubicBezTo>
                  <a:cubicBezTo>
                    <a:pt x="399" y="93"/>
                    <a:pt x="394" y="77"/>
                    <a:pt x="394" y="59"/>
                  </a:cubicBezTo>
                  <a:close/>
                  <a:moveTo>
                    <a:pt x="435" y="59"/>
                  </a:moveTo>
                  <a:cubicBezTo>
                    <a:pt x="435" y="50"/>
                    <a:pt x="431" y="34"/>
                    <a:pt x="419" y="34"/>
                  </a:cubicBezTo>
                  <a:cubicBezTo>
                    <a:pt x="406" y="34"/>
                    <a:pt x="403" y="50"/>
                    <a:pt x="403" y="59"/>
                  </a:cubicBezTo>
                  <a:cubicBezTo>
                    <a:pt x="403" y="70"/>
                    <a:pt x="406" y="84"/>
                    <a:pt x="419" y="84"/>
                  </a:cubicBezTo>
                  <a:cubicBezTo>
                    <a:pt x="431" y="84"/>
                    <a:pt x="435" y="70"/>
                    <a:pt x="435" y="59"/>
                  </a:cubicBezTo>
                  <a:close/>
                  <a:moveTo>
                    <a:pt x="494" y="79"/>
                  </a:moveTo>
                  <a:cubicBezTo>
                    <a:pt x="494" y="79"/>
                    <a:pt x="494" y="79"/>
                    <a:pt x="494" y="79"/>
                  </a:cubicBezTo>
                  <a:cubicBezTo>
                    <a:pt x="491" y="86"/>
                    <a:pt x="485" y="92"/>
                    <a:pt x="476" y="92"/>
                  </a:cubicBezTo>
                  <a:cubicBezTo>
                    <a:pt x="460" y="92"/>
                    <a:pt x="455" y="74"/>
                    <a:pt x="455" y="59"/>
                  </a:cubicBezTo>
                  <a:cubicBezTo>
                    <a:pt x="455" y="47"/>
                    <a:pt x="460" y="27"/>
                    <a:pt x="476" y="27"/>
                  </a:cubicBezTo>
                  <a:cubicBezTo>
                    <a:pt x="485" y="27"/>
                    <a:pt x="491" y="30"/>
                    <a:pt x="494" y="38"/>
                  </a:cubicBezTo>
                  <a:cubicBezTo>
                    <a:pt x="494" y="38"/>
                    <a:pt x="494" y="38"/>
                    <a:pt x="494" y="38"/>
                  </a:cubicBezTo>
                  <a:cubicBezTo>
                    <a:pt x="494" y="29"/>
                    <a:pt x="494" y="29"/>
                    <a:pt x="494" y="29"/>
                  </a:cubicBezTo>
                  <a:cubicBezTo>
                    <a:pt x="503" y="29"/>
                    <a:pt x="503" y="29"/>
                    <a:pt x="503" y="29"/>
                  </a:cubicBezTo>
                  <a:cubicBezTo>
                    <a:pt x="503" y="92"/>
                    <a:pt x="503" y="92"/>
                    <a:pt x="503" y="92"/>
                  </a:cubicBezTo>
                  <a:cubicBezTo>
                    <a:pt x="503" y="110"/>
                    <a:pt x="494" y="118"/>
                    <a:pt x="476" y="118"/>
                  </a:cubicBezTo>
                  <a:cubicBezTo>
                    <a:pt x="469" y="118"/>
                    <a:pt x="466" y="118"/>
                    <a:pt x="458" y="117"/>
                  </a:cubicBezTo>
                  <a:cubicBezTo>
                    <a:pt x="458" y="108"/>
                    <a:pt x="458" y="108"/>
                    <a:pt x="458" y="108"/>
                  </a:cubicBezTo>
                  <a:cubicBezTo>
                    <a:pt x="464" y="110"/>
                    <a:pt x="469" y="111"/>
                    <a:pt x="474" y="111"/>
                  </a:cubicBezTo>
                  <a:cubicBezTo>
                    <a:pt x="489" y="111"/>
                    <a:pt x="494" y="104"/>
                    <a:pt x="494" y="90"/>
                  </a:cubicBezTo>
                  <a:cubicBezTo>
                    <a:pt x="494" y="79"/>
                    <a:pt x="494" y="79"/>
                    <a:pt x="494" y="79"/>
                  </a:cubicBezTo>
                  <a:cubicBezTo>
                    <a:pt x="494" y="79"/>
                    <a:pt x="494" y="79"/>
                    <a:pt x="494" y="79"/>
                  </a:cubicBezTo>
                  <a:close/>
                  <a:moveTo>
                    <a:pt x="494" y="59"/>
                  </a:moveTo>
                  <a:cubicBezTo>
                    <a:pt x="494" y="50"/>
                    <a:pt x="491" y="34"/>
                    <a:pt x="478" y="34"/>
                  </a:cubicBezTo>
                  <a:cubicBezTo>
                    <a:pt x="467" y="34"/>
                    <a:pt x="466" y="52"/>
                    <a:pt x="466" y="61"/>
                  </a:cubicBezTo>
                  <a:cubicBezTo>
                    <a:pt x="466" y="68"/>
                    <a:pt x="467" y="84"/>
                    <a:pt x="478" y="84"/>
                  </a:cubicBezTo>
                  <a:cubicBezTo>
                    <a:pt x="491" y="84"/>
                    <a:pt x="494" y="68"/>
                    <a:pt x="494" y="59"/>
                  </a:cubicBezTo>
                  <a:close/>
                  <a:moveTo>
                    <a:pt x="528" y="117"/>
                  </a:moveTo>
                  <a:cubicBezTo>
                    <a:pt x="537" y="92"/>
                    <a:pt x="537" y="92"/>
                    <a:pt x="537" y="92"/>
                  </a:cubicBezTo>
                  <a:cubicBezTo>
                    <a:pt x="512" y="29"/>
                    <a:pt x="512" y="29"/>
                    <a:pt x="512" y="29"/>
                  </a:cubicBezTo>
                  <a:cubicBezTo>
                    <a:pt x="523" y="29"/>
                    <a:pt x="523" y="29"/>
                    <a:pt x="523" y="29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59" y="29"/>
                    <a:pt x="559" y="29"/>
                    <a:pt x="559" y="29"/>
                  </a:cubicBezTo>
                  <a:cubicBezTo>
                    <a:pt x="568" y="29"/>
                    <a:pt x="568" y="29"/>
                    <a:pt x="568" y="29"/>
                  </a:cubicBezTo>
                  <a:cubicBezTo>
                    <a:pt x="537" y="117"/>
                    <a:pt x="537" y="117"/>
                    <a:pt x="537" y="117"/>
                  </a:cubicBezTo>
                  <a:cubicBezTo>
                    <a:pt x="528" y="117"/>
                    <a:pt x="528" y="117"/>
                    <a:pt x="528" y="117"/>
                  </a:cubicBezTo>
                  <a:cubicBezTo>
                    <a:pt x="528" y="117"/>
                    <a:pt x="528" y="117"/>
                    <a:pt x="528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6375400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12"/>
            <p:cNvSpPr>
              <a:spLocks noEditPoints="1"/>
            </p:cNvSpPr>
            <p:nvPr userDrawn="1"/>
          </p:nvSpPr>
          <p:spPr bwMode="auto">
            <a:xfrm>
              <a:off x="6589713" y="3621091"/>
              <a:ext cx="2020888" cy="458787"/>
            </a:xfrm>
            <a:custGeom>
              <a:avLst/>
              <a:gdLst>
                <a:gd name="T0" fmla="*/ 65 w 539"/>
                <a:gd name="T1" fmla="*/ 47 h 122"/>
                <a:gd name="T2" fmla="*/ 54 w 539"/>
                <a:gd name="T3" fmla="*/ 47 h 122"/>
                <a:gd name="T4" fmla="*/ 33 w 539"/>
                <a:gd name="T5" fmla="*/ 86 h 122"/>
                <a:gd name="T6" fmla="*/ 81 w 539"/>
                <a:gd name="T7" fmla="*/ 31 h 122"/>
                <a:gd name="T8" fmla="*/ 90 w 539"/>
                <a:gd name="T9" fmla="*/ 41 h 122"/>
                <a:gd name="T10" fmla="*/ 106 w 539"/>
                <a:gd name="T11" fmla="*/ 95 h 122"/>
                <a:gd name="T12" fmla="*/ 90 w 539"/>
                <a:gd name="T13" fmla="*/ 122 h 122"/>
                <a:gd name="T14" fmla="*/ 119 w 539"/>
                <a:gd name="T15" fmla="*/ 59 h 122"/>
                <a:gd name="T16" fmla="*/ 105 w 539"/>
                <a:gd name="T17" fmla="*/ 86 h 122"/>
                <a:gd name="T18" fmla="*/ 171 w 539"/>
                <a:gd name="T19" fmla="*/ 95 h 122"/>
                <a:gd name="T20" fmla="*/ 187 w 539"/>
                <a:gd name="T21" fmla="*/ 52 h 122"/>
                <a:gd name="T22" fmla="*/ 149 w 539"/>
                <a:gd name="T23" fmla="*/ 59 h 122"/>
                <a:gd name="T24" fmla="*/ 185 w 539"/>
                <a:gd name="T25" fmla="*/ 94 h 122"/>
                <a:gd name="T26" fmla="*/ 164 w 539"/>
                <a:gd name="T27" fmla="*/ 36 h 122"/>
                <a:gd name="T28" fmla="*/ 176 w 539"/>
                <a:gd name="T29" fmla="*/ 49 h 122"/>
                <a:gd name="T30" fmla="*/ 211 w 539"/>
                <a:gd name="T31" fmla="*/ 31 h 122"/>
                <a:gd name="T32" fmla="*/ 232 w 539"/>
                <a:gd name="T33" fmla="*/ 29 h 122"/>
                <a:gd name="T34" fmla="*/ 211 w 539"/>
                <a:gd name="T35" fmla="*/ 94 h 122"/>
                <a:gd name="T36" fmla="*/ 273 w 539"/>
                <a:gd name="T37" fmla="*/ 94 h 122"/>
                <a:gd name="T38" fmla="*/ 254 w 539"/>
                <a:gd name="T39" fmla="*/ 95 h 122"/>
                <a:gd name="T40" fmla="*/ 273 w 539"/>
                <a:gd name="T41" fmla="*/ 56 h 122"/>
                <a:gd name="T42" fmla="*/ 239 w 539"/>
                <a:gd name="T43" fmla="*/ 47 h 122"/>
                <a:gd name="T44" fmla="*/ 282 w 539"/>
                <a:gd name="T45" fmla="*/ 94 h 122"/>
                <a:gd name="T46" fmla="*/ 268 w 539"/>
                <a:gd name="T47" fmla="*/ 65 h 122"/>
                <a:gd name="T48" fmla="*/ 272 w 539"/>
                <a:gd name="T49" fmla="*/ 77 h 122"/>
                <a:gd name="T50" fmla="*/ 268 w 539"/>
                <a:gd name="T51" fmla="*/ 65 h 122"/>
                <a:gd name="T52" fmla="*/ 308 w 539"/>
                <a:gd name="T53" fmla="*/ 79 h 122"/>
                <a:gd name="T54" fmla="*/ 297 w 539"/>
                <a:gd name="T55" fmla="*/ 31 h 122"/>
                <a:gd name="T56" fmla="*/ 317 w 539"/>
                <a:gd name="T57" fmla="*/ 9 h 122"/>
                <a:gd name="T58" fmla="*/ 333 w 539"/>
                <a:gd name="T59" fmla="*/ 38 h 122"/>
                <a:gd name="T60" fmla="*/ 326 w 539"/>
                <a:gd name="T61" fmla="*/ 86 h 122"/>
                <a:gd name="T62" fmla="*/ 333 w 539"/>
                <a:gd name="T63" fmla="*/ 94 h 122"/>
                <a:gd name="T64" fmla="*/ 356 w 539"/>
                <a:gd name="T65" fmla="*/ 2 h 122"/>
                <a:gd name="T66" fmla="*/ 345 w 539"/>
                <a:gd name="T67" fmla="*/ 13 h 122"/>
                <a:gd name="T68" fmla="*/ 354 w 539"/>
                <a:gd name="T69" fmla="*/ 31 h 122"/>
                <a:gd name="T70" fmla="*/ 345 w 539"/>
                <a:gd name="T71" fmla="*/ 94 h 122"/>
                <a:gd name="T72" fmla="*/ 423 w 539"/>
                <a:gd name="T73" fmla="*/ 61 h 122"/>
                <a:gd name="T74" fmla="*/ 414 w 539"/>
                <a:gd name="T75" fmla="*/ 61 h 122"/>
                <a:gd name="T76" fmla="*/ 397 w 539"/>
                <a:gd name="T77" fmla="*/ 86 h 122"/>
                <a:gd name="T78" fmla="*/ 475 w 539"/>
                <a:gd name="T79" fmla="*/ 58 h 122"/>
                <a:gd name="T80" fmla="*/ 448 w 539"/>
                <a:gd name="T81" fmla="*/ 94 h 122"/>
                <a:gd name="T82" fmla="*/ 448 w 539"/>
                <a:gd name="T83" fmla="*/ 31 h 122"/>
                <a:gd name="T84" fmla="*/ 467 w 539"/>
                <a:gd name="T85" fmla="*/ 29 h 122"/>
                <a:gd name="T86" fmla="*/ 475 w 539"/>
                <a:gd name="T87" fmla="*/ 94 h 122"/>
                <a:gd name="T88" fmla="*/ 514 w 539"/>
                <a:gd name="T89" fmla="*/ 86 h 122"/>
                <a:gd name="T90" fmla="*/ 512 w 539"/>
                <a:gd name="T91" fmla="*/ 63 h 122"/>
                <a:gd name="T92" fmla="*/ 536 w 539"/>
                <a:gd name="T93" fmla="*/ 31 h 122"/>
                <a:gd name="T94" fmla="*/ 507 w 539"/>
                <a:gd name="T95" fmla="*/ 45 h 122"/>
                <a:gd name="T96" fmla="*/ 539 w 539"/>
                <a:gd name="T97" fmla="*/ 76 h 122"/>
                <a:gd name="T98" fmla="*/ 498 w 539"/>
                <a:gd name="T99" fmla="*/ 8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9" h="122">
                  <a:moveTo>
                    <a:pt x="0" y="47"/>
                  </a:moveTo>
                  <a:cubicBezTo>
                    <a:pt x="0" y="25"/>
                    <a:pt x="6" y="0"/>
                    <a:pt x="33" y="0"/>
                  </a:cubicBezTo>
                  <a:cubicBezTo>
                    <a:pt x="60" y="0"/>
                    <a:pt x="65" y="25"/>
                    <a:pt x="65" y="47"/>
                  </a:cubicBezTo>
                  <a:cubicBezTo>
                    <a:pt x="65" y="68"/>
                    <a:pt x="60" y="95"/>
                    <a:pt x="33" y="95"/>
                  </a:cubicBezTo>
                  <a:cubicBezTo>
                    <a:pt x="6" y="95"/>
                    <a:pt x="0" y="68"/>
                    <a:pt x="0" y="47"/>
                  </a:cubicBezTo>
                  <a:close/>
                  <a:moveTo>
                    <a:pt x="54" y="47"/>
                  </a:moveTo>
                  <a:cubicBezTo>
                    <a:pt x="54" y="32"/>
                    <a:pt x="52" y="9"/>
                    <a:pt x="33" y="9"/>
                  </a:cubicBezTo>
                  <a:cubicBezTo>
                    <a:pt x="13" y="9"/>
                    <a:pt x="11" y="32"/>
                    <a:pt x="11" y="47"/>
                  </a:cubicBezTo>
                  <a:cubicBezTo>
                    <a:pt x="11" y="61"/>
                    <a:pt x="13" y="86"/>
                    <a:pt x="33" y="86"/>
                  </a:cubicBezTo>
                  <a:cubicBezTo>
                    <a:pt x="52" y="86"/>
                    <a:pt x="54" y="61"/>
                    <a:pt x="54" y="47"/>
                  </a:cubicBezTo>
                  <a:close/>
                  <a:moveTo>
                    <a:pt x="81" y="122"/>
                  </a:moveTo>
                  <a:cubicBezTo>
                    <a:pt x="81" y="31"/>
                    <a:pt x="81" y="31"/>
                    <a:pt x="81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2" y="32"/>
                    <a:pt x="99" y="29"/>
                    <a:pt x="106" y="29"/>
                  </a:cubicBezTo>
                  <a:cubicBezTo>
                    <a:pt x="126" y="29"/>
                    <a:pt x="128" y="47"/>
                    <a:pt x="128" y="61"/>
                  </a:cubicBezTo>
                  <a:cubicBezTo>
                    <a:pt x="128" y="76"/>
                    <a:pt x="124" y="95"/>
                    <a:pt x="106" y="95"/>
                  </a:cubicBezTo>
                  <a:cubicBezTo>
                    <a:pt x="99" y="95"/>
                    <a:pt x="94" y="90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81" y="122"/>
                    <a:pt x="81" y="122"/>
                    <a:pt x="81" y="122"/>
                  </a:cubicBezTo>
                  <a:cubicBezTo>
                    <a:pt x="81" y="122"/>
                    <a:pt x="81" y="122"/>
                    <a:pt x="81" y="122"/>
                  </a:cubicBezTo>
                  <a:close/>
                  <a:moveTo>
                    <a:pt x="119" y="59"/>
                  </a:moveTo>
                  <a:cubicBezTo>
                    <a:pt x="119" y="50"/>
                    <a:pt x="117" y="36"/>
                    <a:pt x="105" y="36"/>
                  </a:cubicBezTo>
                  <a:cubicBezTo>
                    <a:pt x="94" y="36"/>
                    <a:pt x="90" y="52"/>
                    <a:pt x="90" y="61"/>
                  </a:cubicBezTo>
                  <a:cubicBezTo>
                    <a:pt x="90" y="70"/>
                    <a:pt x="94" y="86"/>
                    <a:pt x="105" y="86"/>
                  </a:cubicBezTo>
                  <a:cubicBezTo>
                    <a:pt x="117" y="86"/>
                    <a:pt x="119" y="68"/>
                    <a:pt x="119" y="59"/>
                  </a:cubicBezTo>
                  <a:close/>
                  <a:moveTo>
                    <a:pt x="185" y="94"/>
                  </a:moveTo>
                  <a:cubicBezTo>
                    <a:pt x="180" y="94"/>
                    <a:pt x="175" y="95"/>
                    <a:pt x="171" y="95"/>
                  </a:cubicBezTo>
                  <a:cubicBezTo>
                    <a:pt x="148" y="95"/>
                    <a:pt x="140" y="81"/>
                    <a:pt x="140" y="59"/>
                  </a:cubicBezTo>
                  <a:cubicBezTo>
                    <a:pt x="140" y="43"/>
                    <a:pt x="146" y="29"/>
                    <a:pt x="164" y="29"/>
                  </a:cubicBezTo>
                  <a:cubicBezTo>
                    <a:pt x="178" y="29"/>
                    <a:pt x="187" y="38"/>
                    <a:pt x="187" y="52"/>
                  </a:cubicBezTo>
                  <a:cubicBezTo>
                    <a:pt x="187" y="56"/>
                    <a:pt x="187" y="56"/>
                    <a:pt x="187" y="56"/>
                  </a:cubicBezTo>
                  <a:cubicBezTo>
                    <a:pt x="149" y="56"/>
                    <a:pt x="149" y="56"/>
                    <a:pt x="149" y="56"/>
                  </a:cubicBezTo>
                  <a:cubicBezTo>
                    <a:pt x="149" y="59"/>
                    <a:pt x="149" y="59"/>
                    <a:pt x="149" y="59"/>
                  </a:cubicBezTo>
                  <a:cubicBezTo>
                    <a:pt x="149" y="74"/>
                    <a:pt x="157" y="86"/>
                    <a:pt x="173" y="86"/>
                  </a:cubicBezTo>
                  <a:cubicBezTo>
                    <a:pt x="176" y="86"/>
                    <a:pt x="180" y="86"/>
                    <a:pt x="185" y="85"/>
                  </a:cubicBezTo>
                  <a:cubicBezTo>
                    <a:pt x="185" y="94"/>
                    <a:pt x="185" y="94"/>
                    <a:pt x="185" y="94"/>
                  </a:cubicBezTo>
                  <a:cubicBezTo>
                    <a:pt x="185" y="94"/>
                    <a:pt x="185" y="94"/>
                    <a:pt x="185" y="94"/>
                  </a:cubicBezTo>
                  <a:close/>
                  <a:moveTo>
                    <a:pt x="176" y="49"/>
                  </a:moveTo>
                  <a:cubicBezTo>
                    <a:pt x="176" y="41"/>
                    <a:pt x="171" y="36"/>
                    <a:pt x="164" y="36"/>
                  </a:cubicBezTo>
                  <a:cubicBezTo>
                    <a:pt x="157" y="36"/>
                    <a:pt x="151" y="41"/>
                    <a:pt x="151" y="49"/>
                  </a:cubicBezTo>
                  <a:cubicBezTo>
                    <a:pt x="176" y="49"/>
                    <a:pt x="176" y="49"/>
                    <a:pt x="176" y="49"/>
                  </a:cubicBezTo>
                  <a:cubicBezTo>
                    <a:pt x="176" y="49"/>
                    <a:pt x="176" y="49"/>
                    <a:pt x="176" y="49"/>
                  </a:cubicBezTo>
                  <a:close/>
                  <a:moveTo>
                    <a:pt x="202" y="94"/>
                  </a:moveTo>
                  <a:cubicBezTo>
                    <a:pt x="202" y="31"/>
                    <a:pt x="202" y="31"/>
                    <a:pt x="202" y="31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4" y="32"/>
                    <a:pt x="221" y="29"/>
                    <a:pt x="232" y="29"/>
                  </a:cubicBezTo>
                  <a:cubicBezTo>
                    <a:pt x="232" y="38"/>
                    <a:pt x="232" y="38"/>
                    <a:pt x="232" y="38"/>
                  </a:cubicBezTo>
                  <a:cubicBezTo>
                    <a:pt x="216" y="38"/>
                    <a:pt x="211" y="54"/>
                    <a:pt x="211" y="67"/>
                  </a:cubicBezTo>
                  <a:cubicBezTo>
                    <a:pt x="211" y="94"/>
                    <a:pt x="211" y="94"/>
                    <a:pt x="211" y="94"/>
                  </a:cubicBezTo>
                  <a:cubicBezTo>
                    <a:pt x="202" y="94"/>
                    <a:pt x="202" y="94"/>
                    <a:pt x="202" y="94"/>
                  </a:cubicBezTo>
                  <a:cubicBezTo>
                    <a:pt x="202" y="94"/>
                    <a:pt x="202" y="94"/>
                    <a:pt x="202" y="94"/>
                  </a:cubicBezTo>
                  <a:close/>
                  <a:moveTo>
                    <a:pt x="273" y="94"/>
                  </a:moveTo>
                  <a:cubicBezTo>
                    <a:pt x="273" y="85"/>
                    <a:pt x="273" y="85"/>
                    <a:pt x="273" y="85"/>
                  </a:cubicBezTo>
                  <a:cubicBezTo>
                    <a:pt x="273" y="85"/>
                    <a:pt x="273" y="85"/>
                    <a:pt x="273" y="85"/>
                  </a:cubicBezTo>
                  <a:cubicBezTo>
                    <a:pt x="270" y="92"/>
                    <a:pt x="261" y="95"/>
                    <a:pt x="254" y="95"/>
                  </a:cubicBezTo>
                  <a:cubicBezTo>
                    <a:pt x="243" y="95"/>
                    <a:pt x="238" y="88"/>
                    <a:pt x="238" y="77"/>
                  </a:cubicBezTo>
                  <a:cubicBezTo>
                    <a:pt x="238" y="63"/>
                    <a:pt x="254" y="58"/>
                    <a:pt x="273" y="58"/>
                  </a:cubicBezTo>
                  <a:cubicBezTo>
                    <a:pt x="273" y="56"/>
                    <a:pt x="273" y="56"/>
                    <a:pt x="273" y="56"/>
                  </a:cubicBezTo>
                  <a:cubicBezTo>
                    <a:pt x="273" y="47"/>
                    <a:pt x="273" y="36"/>
                    <a:pt x="261" y="36"/>
                  </a:cubicBezTo>
                  <a:cubicBezTo>
                    <a:pt x="254" y="36"/>
                    <a:pt x="250" y="38"/>
                    <a:pt x="248" y="47"/>
                  </a:cubicBezTo>
                  <a:cubicBezTo>
                    <a:pt x="239" y="47"/>
                    <a:pt x="239" y="47"/>
                    <a:pt x="239" y="47"/>
                  </a:cubicBezTo>
                  <a:cubicBezTo>
                    <a:pt x="239" y="34"/>
                    <a:pt x="250" y="29"/>
                    <a:pt x="261" y="29"/>
                  </a:cubicBezTo>
                  <a:cubicBezTo>
                    <a:pt x="275" y="29"/>
                    <a:pt x="282" y="34"/>
                    <a:pt x="282" y="49"/>
                  </a:cubicBezTo>
                  <a:cubicBezTo>
                    <a:pt x="282" y="94"/>
                    <a:pt x="282" y="94"/>
                    <a:pt x="282" y="94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lose/>
                  <a:moveTo>
                    <a:pt x="268" y="65"/>
                  </a:moveTo>
                  <a:cubicBezTo>
                    <a:pt x="261" y="65"/>
                    <a:pt x="248" y="68"/>
                    <a:pt x="248" y="77"/>
                  </a:cubicBezTo>
                  <a:cubicBezTo>
                    <a:pt x="248" y="83"/>
                    <a:pt x="252" y="86"/>
                    <a:pt x="255" y="86"/>
                  </a:cubicBezTo>
                  <a:cubicBezTo>
                    <a:pt x="263" y="86"/>
                    <a:pt x="268" y="83"/>
                    <a:pt x="272" y="77"/>
                  </a:cubicBezTo>
                  <a:cubicBezTo>
                    <a:pt x="273" y="72"/>
                    <a:pt x="273" y="70"/>
                    <a:pt x="273" y="65"/>
                  </a:cubicBezTo>
                  <a:cubicBezTo>
                    <a:pt x="268" y="65"/>
                    <a:pt x="268" y="65"/>
                    <a:pt x="268" y="65"/>
                  </a:cubicBezTo>
                  <a:cubicBezTo>
                    <a:pt x="268" y="65"/>
                    <a:pt x="268" y="65"/>
                    <a:pt x="268" y="65"/>
                  </a:cubicBezTo>
                  <a:close/>
                  <a:moveTo>
                    <a:pt x="333" y="94"/>
                  </a:moveTo>
                  <a:cubicBezTo>
                    <a:pt x="329" y="95"/>
                    <a:pt x="327" y="95"/>
                    <a:pt x="324" y="95"/>
                  </a:cubicBezTo>
                  <a:cubicBezTo>
                    <a:pt x="313" y="95"/>
                    <a:pt x="308" y="90"/>
                    <a:pt x="308" y="79"/>
                  </a:cubicBezTo>
                  <a:cubicBezTo>
                    <a:pt x="308" y="38"/>
                    <a:pt x="308" y="38"/>
                    <a:pt x="308" y="38"/>
                  </a:cubicBezTo>
                  <a:cubicBezTo>
                    <a:pt x="297" y="38"/>
                    <a:pt x="297" y="38"/>
                    <a:pt x="297" y="38"/>
                  </a:cubicBezTo>
                  <a:cubicBezTo>
                    <a:pt x="297" y="31"/>
                    <a:pt x="297" y="31"/>
                    <a:pt x="297" y="31"/>
                  </a:cubicBezTo>
                  <a:cubicBezTo>
                    <a:pt x="308" y="31"/>
                    <a:pt x="308" y="31"/>
                    <a:pt x="308" y="31"/>
                  </a:cubicBezTo>
                  <a:cubicBezTo>
                    <a:pt x="308" y="14"/>
                    <a:pt x="308" y="14"/>
                    <a:pt x="308" y="14"/>
                  </a:cubicBezTo>
                  <a:cubicBezTo>
                    <a:pt x="317" y="9"/>
                    <a:pt x="317" y="9"/>
                    <a:pt x="317" y="9"/>
                  </a:cubicBezTo>
                  <a:cubicBezTo>
                    <a:pt x="317" y="31"/>
                    <a:pt x="317" y="31"/>
                    <a:pt x="317" y="31"/>
                  </a:cubicBezTo>
                  <a:cubicBezTo>
                    <a:pt x="333" y="31"/>
                    <a:pt x="333" y="31"/>
                    <a:pt x="333" y="31"/>
                  </a:cubicBezTo>
                  <a:cubicBezTo>
                    <a:pt x="333" y="38"/>
                    <a:pt x="333" y="38"/>
                    <a:pt x="333" y="38"/>
                  </a:cubicBezTo>
                  <a:cubicBezTo>
                    <a:pt x="317" y="38"/>
                    <a:pt x="317" y="38"/>
                    <a:pt x="317" y="38"/>
                  </a:cubicBezTo>
                  <a:cubicBezTo>
                    <a:pt x="317" y="77"/>
                    <a:pt x="317" y="77"/>
                    <a:pt x="317" y="77"/>
                  </a:cubicBezTo>
                  <a:cubicBezTo>
                    <a:pt x="317" y="83"/>
                    <a:pt x="318" y="86"/>
                    <a:pt x="326" y="86"/>
                  </a:cubicBezTo>
                  <a:cubicBezTo>
                    <a:pt x="329" y="86"/>
                    <a:pt x="329" y="86"/>
                    <a:pt x="333" y="86"/>
                  </a:cubicBezTo>
                  <a:cubicBezTo>
                    <a:pt x="333" y="94"/>
                    <a:pt x="333" y="94"/>
                    <a:pt x="333" y="94"/>
                  </a:cubicBezTo>
                  <a:cubicBezTo>
                    <a:pt x="333" y="94"/>
                    <a:pt x="333" y="94"/>
                    <a:pt x="333" y="94"/>
                  </a:cubicBezTo>
                  <a:close/>
                  <a:moveTo>
                    <a:pt x="345" y="13"/>
                  </a:moveTo>
                  <a:cubicBezTo>
                    <a:pt x="345" y="2"/>
                    <a:pt x="345" y="2"/>
                    <a:pt x="345" y="2"/>
                  </a:cubicBezTo>
                  <a:cubicBezTo>
                    <a:pt x="356" y="2"/>
                    <a:pt x="356" y="2"/>
                    <a:pt x="356" y="2"/>
                  </a:cubicBezTo>
                  <a:cubicBezTo>
                    <a:pt x="356" y="13"/>
                    <a:pt x="356" y="13"/>
                    <a:pt x="356" y="13"/>
                  </a:cubicBezTo>
                  <a:cubicBezTo>
                    <a:pt x="345" y="13"/>
                    <a:pt x="345" y="13"/>
                    <a:pt x="345" y="13"/>
                  </a:cubicBezTo>
                  <a:cubicBezTo>
                    <a:pt x="345" y="13"/>
                    <a:pt x="345" y="13"/>
                    <a:pt x="345" y="13"/>
                  </a:cubicBezTo>
                  <a:close/>
                  <a:moveTo>
                    <a:pt x="345" y="94"/>
                  </a:moveTo>
                  <a:cubicBezTo>
                    <a:pt x="345" y="31"/>
                    <a:pt x="345" y="31"/>
                    <a:pt x="345" y="31"/>
                  </a:cubicBezTo>
                  <a:cubicBezTo>
                    <a:pt x="354" y="31"/>
                    <a:pt x="354" y="31"/>
                    <a:pt x="354" y="31"/>
                  </a:cubicBezTo>
                  <a:cubicBezTo>
                    <a:pt x="354" y="94"/>
                    <a:pt x="354" y="94"/>
                    <a:pt x="354" y="94"/>
                  </a:cubicBezTo>
                  <a:cubicBezTo>
                    <a:pt x="345" y="94"/>
                    <a:pt x="345" y="94"/>
                    <a:pt x="345" y="94"/>
                  </a:cubicBezTo>
                  <a:cubicBezTo>
                    <a:pt x="345" y="94"/>
                    <a:pt x="345" y="94"/>
                    <a:pt x="345" y="94"/>
                  </a:cubicBezTo>
                  <a:close/>
                  <a:moveTo>
                    <a:pt x="372" y="61"/>
                  </a:moveTo>
                  <a:cubicBezTo>
                    <a:pt x="372" y="45"/>
                    <a:pt x="378" y="29"/>
                    <a:pt x="397" y="29"/>
                  </a:cubicBezTo>
                  <a:cubicBezTo>
                    <a:pt x="417" y="29"/>
                    <a:pt x="423" y="45"/>
                    <a:pt x="423" y="61"/>
                  </a:cubicBezTo>
                  <a:cubicBezTo>
                    <a:pt x="423" y="79"/>
                    <a:pt x="417" y="95"/>
                    <a:pt x="397" y="95"/>
                  </a:cubicBezTo>
                  <a:cubicBezTo>
                    <a:pt x="378" y="95"/>
                    <a:pt x="372" y="79"/>
                    <a:pt x="372" y="61"/>
                  </a:cubicBezTo>
                  <a:close/>
                  <a:moveTo>
                    <a:pt x="414" y="61"/>
                  </a:moveTo>
                  <a:cubicBezTo>
                    <a:pt x="414" y="52"/>
                    <a:pt x="410" y="36"/>
                    <a:pt x="397" y="36"/>
                  </a:cubicBezTo>
                  <a:cubicBezTo>
                    <a:pt x="385" y="36"/>
                    <a:pt x="381" y="52"/>
                    <a:pt x="381" y="61"/>
                  </a:cubicBezTo>
                  <a:cubicBezTo>
                    <a:pt x="381" y="72"/>
                    <a:pt x="385" y="86"/>
                    <a:pt x="397" y="86"/>
                  </a:cubicBezTo>
                  <a:cubicBezTo>
                    <a:pt x="410" y="86"/>
                    <a:pt x="414" y="72"/>
                    <a:pt x="414" y="61"/>
                  </a:cubicBezTo>
                  <a:close/>
                  <a:moveTo>
                    <a:pt x="475" y="94"/>
                  </a:moveTo>
                  <a:cubicBezTo>
                    <a:pt x="475" y="58"/>
                    <a:pt x="475" y="58"/>
                    <a:pt x="475" y="58"/>
                  </a:cubicBezTo>
                  <a:cubicBezTo>
                    <a:pt x="475" y="50"/>
                    <a:pt x="476" y="38"/>
                    <a:pt x="466" y="38"/>
                  </a:cubicBezTo>
                  <a:cubicBezTo>
                    <a:pt x="453" y="38"/>
                    <a:pt x="448" y="58"/>
                    <a:pt x="448" y="67"/>
                  </a:cubicBezTo>
                  <a:cubicBezTo>
                    <a:pt x="448" y="94"/>
                    <a:pt x="448" y="94"/>
                    <a:pt x="448" y="94"/>
                  </a:cubicBezTo>
                  <a:cubicBezTo>
                    <a:pt x="439" y="94"/>
                    <a:pt x="439" y="94"/>
                    <a:pt x="439" y="94"/>
                  </a:cubicBezTo>
                  <a:cubicBezTo>
                    <a:pt x="439" y="31"/>
                    <a:pt x="439" y="31"/>
                    <a:pt x="439" y="31"/>
                  </a:cubicBezTo>
                  <a:cubicBezTo>
                    <a:pt x="448" y="31"/>
                    <a:pt x="448" y="31"/>
                    <a:pt x="448" y="31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51" y="34"/>
                    <a:pt x="457" y="29"/>
                    <a:pt x="467" y="29"/>
                  </a:cubicBezTo>
                  <a:cubicBezTo>
                    <a:pt x="478" y="29"/>
                    <a:pt x="484" y="38"/>
                    <a:pt x="484" y="49"/>
                  </a:cubicBezTo>
                  <a:cubicBezTo>
                    <a:pt x="484" y="94"/>
                    <a:pt x="484" y="94"/>
                    <a:pt x="484" y="94"/>
                  </a:cubicBezTo>
                  <a:cubicBezTo>
                    <a:pt x="475" y="94"/>
                    <a:pt x="475" y="94"/>
                    <a:pt x="475" y="94"/>
                  </a:cubicBezTo>
                  <a:cubicBezTo>
                    <a:pt x="475" y="94"/>
                    <a:pt x="475" y="94"/>
                    <a:pt x="475" y="94"/>
                  </a:cubicBezTo>
                  <a:close/>
                  <a:moveTo>
                    <a:pt x="498" y="85"/>
                  </a:moveTo>
                  <a:cubicBezTo>
                    <a:pt x="503" y="86"/>
                    <a:pt x="509" y="86"/>
                    <a:pt x="514" y="86"/>
                  </a:cubicBezTo>
                  <a:cubicBezTo>
                    <a:pt x="521" y="86"/>
                    <a:pt x="530" y="85"/>
                    <a:pt x="530" y="77"/>
                  </a:cubicBezTo>
                  <a:cubicBezTo>
                    <a:pt x="530" y="70"/>
                    <a:pt x="523" y="68"/>
                    <a:pt x="518" y="65"/>
                  </a:cubicBezTo>
                  <a:cubicBezTo>
                    <a:pt x="512" y="63"/>
                    <a:pt x="512" y="63"/>
                    <a:pt x="512" y="63"/>
                  </a:cubicBezTo>
                  <a:cubicBezTo>
                    <a:pt x="505" y="59"/>
                    <a:pt x="498" y="56"/>
                    <a:pt x="498" y="45"/>
                  </a:cubicBezTo>
                  <a:cubicBezTo>
                    <a:pt x="498" y="32"/>
                    <a:pt x="509" y="29"/>
                    <a:pt x="520" y="29"/>
                  </a:cubicBezTo>
                  <a:cubicBezTo>
                    <a:pt x="525" y="29"/>
                    <a:pt x="530" y="29"/>
                    <a:pt x="536" y="31"/>
                  </a:cubicBezTo>
                  <a:cubicBezTo>
                    <a:pt x="536" y="40"/>
                    <a:pt x="536" y="40"/>
                    <a:pt x="536" y="40"/>
                  </a:cubicBezTo>
                  <a:cubicBezTo>
                    <a:pt x="530" y="38"/>
                    <a:pt x="525" y="36"/>
                    <a:pt x="520" y="36"/>
                  </a:cubicBezTo>
                  <a:cubicBezTo>
                    <a:pt x="516" y="36"/>
                    <a:pt x="507" y="38"/>
                    <a:pt x="507" y="45"/>
                  </a:cubicBezTo>
                  <a:cubicBezTo>
                    <a:pt x="507" y="50"/>
                    <a:pt x="514" y="52"/>
                    <a:pt x="520" y="54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32" y="63"/>
                    <a:pt x="539" y="65"/>
                    <a:pt x="539" y="76"/>
                  </a:cubicBezTo>
                  <a:cubicBezTo>
                    <a:pt x="539" y="90"/>
                    <a:pt x="529" y="95"/>
                    <a:pt x="516" y="95"/>
                  </a:cubicBezTo>
                  <a:cubicBezTo>
                    <a:pt x="509" y="95"/>
                    <a:pt x="503" y="94"/>
                    <a:pt x="498" y="92"/>
                  </a:cubicBezTo>
                  <a:cubicBezTo>
                    <a:pt x="498" y="85"/>
                    <a:pt x="498" y="85"/>
                    <a:pt x="498" y="85"/>
                  </a:cubicBezTo>
                  <a:cubicBezTo>
                    <a:pt x="498" y="85"/>
                    <a:pt x="498" y="85"/>
                    <a:pt x="498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38" name="Group 37"/>
          <p:cNvGrpSpPr/>
          <p:nvPr userDrawn="1"/>
        </p:nvGrpSpPr>
        <p:grpSpPr>
          <a:xfrm>
            <a:off x="462100" y="4374854"/>
            <a:ext cx="3920730" cy="550287"/>
            <a:chOff x="1681163" y="2122488"/>
            <a:chExt cx="2740025" cy="512762"/>
          </a:xfrm>
        </p:grpSpPr>
        <p:sp>
          <p:nvSpPr>
            <p:cNvPr id="39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1684338" y="2125663"/>
              <a:ext cx="2733675" cy="506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40" name="Group 39"/>
            <p:cNvGrpSpPr/>
            <p:nvPr userDrawn="1"/>
          </p:nvGrpSpPr>
          <p:grpSpPr>
            <a:xfrm>
              <a:off x="3233738" y="2293938"/>
              <a:ext cx="1187450" cy="341312"/>
              <a:chOff x="3233738" y="2293938"/>
              <a:chExt cx="1187450" cy="341312"/>
            </a:xfrm>
            <a:solidFill>
              <a:srgbClr val="FF0000"/>
            </a:solidFill>
          </p:grpSpPr>
          <p:sp>
            <p:nvSpPr>
              <p:cNvPr id="43" name="Freeform 6"/>
              <p:cNvSpPr>
                <a:spLocks/>
              </p:cNvSpPr>
              <p:nvPr userDrawn="1"/>
            </p:nvSpPr>
            <p:spPr bwMode="auto">
              <a:xfrm>
                <a:off x="3233738" y="2351088"/>
                <a:ext cx="127000" cy="206375"/>
              </a:xfrm>
              <a:custGeom>
                <a:avLst/>
                <a:gdLst>
                  <a:gd name="T0" fmla="*/ 0 w 34"/>
                  <a:gd name="T1" fmla="*/ 47 h 55"/>
                  <a:gd name="T2" fmla="*/ 14 w 34"/>
                  <a:gd name="T3" fmla="*/ 50 h 55"/>
                  <a:gd name="T4" fmla="*/ 27 w 34"/>
                  <a:gd name="T5" fmla="*/ 40 h 55"/>
                  <a:gd name="T6" fmla="*/ 0 w 34"/>
                  <a:gd name="T7" fmla="*/ 14 h 55"/>
                  <a:gd name="T8" fmla="*/ 18 w 34"/>
                  <a:gd name="T9" fmla="*/ 0 h 55"/>
                  <a:gd name="T10" fmla="*/ 31 w 34"/>
                  <a:gd name="T11" fmla="*/ 2 h 55"/>
                  <a:gd name="T12" fmla="*/ 31 w 34"/>
                  <a:gd name="T13" fmla="*/ 7 h 55"/>
                  <a:gd name="T14" fmla="*/ 18 w 34"/>
                  <a:gd name="T15" fmla="*/ 5 h 55"/>
                  <a:gd name="T16" fmla="*/ 7 w 34"/>
                  <a:gd name="T17" fmla="*/ 13 h 55"/>
                  <a:gd name="T18" fmla="*/ 17 w 34"/>
                  <a:gd name="T19" fmla="*/ 22 h 55"/>
                  <a:gd name="T20" fmla="*/ 22 w 34"/>
                  <a:gd name="T21" fmla="*/ 24 h 55"/>
                  <a:gd name="T22" fmla="*/ 34 w 34"/>
                  <a:gd name="T23" fmla="*/ 39 h 55"/>
                  <a:gd name="T24" fmla="*/ 14 w 34"/>
                  <a:gd name="T25" fmla="*/ 55 h 55"/>
                  <a:gd name="T26" fmla="*/ 0 w 34"/>
                  <a:gd name="T27" fmla="*/ 53 h 55"/>
                  <a:gd name="T28" fmla="*/ 0 w 34"/>
                  <a:gd name="T29" fmla="*/ 4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55">
                    <a:moveTo>
                      <a:pt x="0" y="47"/>
                    </a:moveTo>
                    <a:cubicBezTo>
                      <a:pt x="4" y="48"/>
                      <a:pt x="9" y="50"/>
                      <a:pt x="14" y="50"/>
                    </a:cubicBezTo>
                    <a:cubicBezTo>
                      <a:pt x="21" y="50"/>
                      <a:pt x="27" y="47"/>
                      <a:pt x="27" y="40"/>
                    </a:cubicBezTo>
                    <a:cubicBezTo>
                      <a:pt x="27" y="27"/>
                      <a:pt x="0" y="29"/>
                      <a:pt x="0" y="14"/>
                    </a:cubicBezTo>
                    <a:cubicBezTo>
                      <a:pt x="0" y="3"/>
                      <a:pt x="8" y="0"/>
                      <a:pt x="18" y="0"/>
                    </a:cubicBezTo>
                    <a:cubicBezTo>
                      <a:pt x="22" y="0"/>
                      <a:pt x="26" y="1"/>
                      <a:pt x="31" y="2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7" y="6"/>
                      <a:pt x="22" y="5"/>
                      <a:pt x="18" y="5"/>
                    </a:cubicBezTo>
                    <a:cubicBezTo>
                      <a:pt x="14" y="5"/>
                      <a:pt x="7" y="7"/>
                      <a:pt x="7" y="13"/>
                    </a:cubicBezTo>
                    <a:cubicBezTo>
                      <a:pt x="7" y="18"/>
                      <a:pt x="13" y="20"/>
                      <a:pt x="17" y="22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8" y="28"/>
                      <a:pt x="34" y="30"/>
                      <a:pt x="34" y="39"/>
                    </a:cubicBezTo>
                    <a:cubicBezTo>
                      <a:pt x="34" y="51"/>
                      <a:pt x="24" y="55"/>
                      <a:pt x="14" y="55"/>
                    </a:cubicBezTo>
                    <a:cubicBezTo>
                      <a:pt x="10" y="55"/>
                      <a:pt x="4" y="54"/>
                      <a:pt x="0" y="53"/>
                    </a:cubicBezTo>
                    <a:lnTo>
                      <a:pt x="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" name="Freeform 7"/>
              <p:cNvSpPr>
                <a:spLocks/>
              </p:cNvSpPr>
              <p:nvPr userDrawn="1"/>
            </p:nvSpPr>
            <p:spPr bwMode="auto">
              <a:xfrm>
                <a:off x="3379788" y="2293938"/>
                <a:ext cx="104775" cy="263525"/>
              </a:xfrm>
              <a:custGeom>
                <a:avLst/>
                <a:gdLst>
                  <a:gd name="T0" fmla="*/ 28 w 28"/>
                  <a:gd name="T1" fmla="*/ 69 h 70"/>
                  <a:gd name="T2" fmla="*/ 22 w 28"/>
                  <a:gd name="T3" fmla="*/ 70 h 70"/>
                  <a:gd name="T4" fmla="*/ 8 w 28"/>
                  <a:gd name="T5" fmla="*/ 57 h 70"/>
                  <a:gd name="T6" fmla="*/ 8 w 28"/>
                  <a:gd name="T7" fmla="*/ 21 h 70"/>
                  <a:gd name="T8" fmla="*/ 0 w 28"/>
                  <a:gd name="T9" fmla="*/ 21 h 70"/>
                  <a:gd name="T10" fmla="*/ 0 w 28"/>
                  <a:gd name="T11" fmla="*/ 16 h 70"/>
                  <a:gd name="T12" fmla="*/ 8 w 28"/>
                  <a:gd name="T13" fmla="*/ 16 h 70"/>
                  <a:gd name="T14" fmla="*/ 8 w 28"/>
                  <a:gd name="T15" fmla="*/ 4 h 70"/>
                  <a:gd name="T16" fmla="*/ 14 w 28"/>
                  <a:gd name="T17" fmla="*/ 0 h 70"/>
                  <a:gd name="T18" fmla="*/ 14 w 28"/>
                  <a:gd name="T19" fmla="*/ 16 h 70"/>
                  <a:gd name="T20" fmla="*/ 28 w 28"/>
                  <a:gd name="T21" fmla="*/ 16 h 70"/>
                  <a:gd name="T22" fmla="*/ 28 w 28"/>
                  <a:gd name="T23" fmla="*/ 21 h 70"/>
                  <a:gd name="T24" fmla="*/ 14 w 28"/>
                  <a:gd name="T25" fmla="*/ 21 h 70"/>
                  <a:gd name="T26" fmla="*/ 14 w 28"/>
                  <a:gd name="T27" fmla="*/ 55 h 70"/>
                  <a:gd name="T28" fmla="*/ 23 w 28"/>
                  <a:gd name="T29" fmla="*/ 65 h 70"/>
                  <a:gd name="T30" fmla="*/ 28 w 28"/>
                  <a:gd name="T31" fmla="*/ 64 h 70"/>
                  <a:gd name="T32" fmla="*/ 28 w 28"/>
                  <a:gd name="T33" fmla="*/ 6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70">
                    <a:moveTo>
                      <a:pt x="28" y="69"/>
                    </a:moveTo>
                    <a:cubicBezTo>
                      <a:pt x="26" y="70"/>
                      <a:pt x="24" y="70"/>
                      <a:pt x="22" y="70"/>
                    </a:cubicBezTo>
                    <a:cubicBezTo>
                      <a:pt x="13" y="70"/>
                      <a:pt x="8" y="66"/>
                      <a:pt x="8" y="57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61"/>
                      <a:pt x="16" y="65"/>
                      <a:pt x="23" y="65"/>
                    </a:cubicBezTo>
                    <a:cubicBezTo>
                      <a:pt x="25" y="65"/>
                      <a:pt x="26" y="64"/>
                      <a:pt x="28" y="64"/>
                    </a:cubicBezTo>
                    <a:lnTo>
                      <a:pt x="28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" name="Freeform 8"/>
              <p:cNvSpPr>
                <a:spLocks/>
              </p:cNvSpPr>
              <p:nvPr userDrawn="1"/>
            </p:nvSpPr>
            <p:spPr bwMode="auto">
              <a:xfrm>
                <a:off x="3509963" y="2351088"/>
                <a:ext cx="87313" cy="201612"/>
              </a:xfrm>
              <a:custGeom>
                <a:avLst/>
                <a:gdLst>
                  <a:gd name="T0" fmla="*/ 0 w 23"/>
                  <a:gd name="T1" fmla="*/ 54 h 54"/>
                  <a:gd name="T2" fmla="*/ 0 w 23"/>
                  <a:gd name="T3" fmla="*/ 1 h 54"/>
                  <a:gd name="T4" fmla="*/ 6 w 23"/>
                  <a:gd name="T5" fmla="*/ 1 h 54"/>
                  <a:gd name="T6" fmla="*/ 6 w 23"/>
                  <a:gd name="T7" fmla="*/ 12 h 54"/>
                  <a:gd name="T8" fmla="*/ 6 w 23"/>
                  <a:gd name="T9" fmla="*/ 12 h 54"/>
                  <a:gd name="T10" fmla="*/ 23 w 23"/>
                  <a:gd name="T11" fmla="*/ 0 h 54"/>
                  <a:gd name="T12" fmla="*/ 23 w 23"/>
                  <a:gd name="T13" fmla="*/ 6 h 54"/>
                  <a:gd name="T14" fmla="*/ 6 w 23"/>
                  <a:gd name="T15" fmla="*/ 32 h 54"/>
                  <a:gd name="T16" fmla="*/ 6 w 23"/>
                  <a:gd name="T17" fmla="*/ 54 h 54"/>
                  <a:gd name="T18" fmla="*/ 0 w 23"/>
                  <a:gd name="T1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9" y="4"/>
                      <a:pt x="15" y="0"/>
                      <a:pt x="23" y="0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9" y="6"/>
                      <a:pt x="6" y="22"/>
                      <a:pt x="6" y="32"/>
                    </a:cubicBezTo>
                    <a:cubicBezTo>
                      <a:pt x="6" y="54"/>
                      <a:pt x="6" y="54"/>
                      <a:pt x="6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Freeform 9"/>
              <p:cNvSpPr>
                <a:spLocks noEditPoints="1"/>
              </p:cNvSpPr>
              <p:nvPr userDrawn="1"/>
            </p:nvSpPr>
            <p:spPr bwMode="auto">
              <a:xfrm>
                <a:off x="3616326" y="2351088"/>
                <a:ext cx="134938" cy="206375"/>
              </a:xfrm>
              <a:custGeom>
                <a:avLst/>
                <a:gdLst>
                  <a:gd name="T0" fmla="*/ 30 w 36"/>
                  <a:gd name="T1" fmla="*/ 54 h 55"/>
                  <a:gd name="T2" fmla="*/ 30 w 36"/>
                  <a:gd name="T3" fmla="*/ 46 h 55"/>
                  <a:gd name="T4" fmla="*/ 30 w 36"/>
                  <a:gd name="T5" fmla="*/ 46 h 55"/>
                  <a:gd name="T6" fmla="*/ 14 w 36"/>
                  <a:gd name="T7" fmla="*/ 55 h 55"/>
                  <a:gd name="T8" fmla="*/ 0 w 36"/>
                  <a:gd name="T9" fmla="*/ 41 h 55"/>
                  <a:gd name="T10" fmla="*/ 30 w 36"/>
                  <a:gd name="T11" fmla="*/ 24 h 55"/>
                  <a:gd name="T12" fmla="*/ 19 w 36"/>
                  <a:gd name="T13" fmla="*/ 5 h 55"/>
                  <a:gd name="T14" fmla="*/ 8 w 36"/>
                  <a:gd name="T15" fmla="*/ 14 h 55"/>
                  <a:gd name="T16" fmla="*/ 1 w 36"/>
                  <a:gd name="T17" fmla="*/ 14 h 55"/>
                  <a:gd name="T18" fmla="*/ 19 w 36"/>
                  <a:gd name="T19" fmla="*/ 0 h 55"/>
                  <a:gd name="T20" fmla="*/ 36 w 36"/>
                  <a:gd name="T21" fmla="*/ 18 h 55"/>
                  <a:gd name="T22" fmla="*/ 36 w 36"/>
                  <a:gd name="T23" fmla="*/ 54 h 55"/>
                  <a:gd name="T24" fmla="*/ 30 w 36"/>
                  <a:gd name="T25" fmla="*/ 54 h 55"/>
                  <a:gd name="T26" fmla="*/ 25 w 36"/>
                  <a:gd name="T27" fmla="*/ 29 h 55"/>
                  <a:gd name="T28" fmla="*/ 7 w 36"/>
                  <a:gd name="T29" fmla="*/ 41 h 55"/>
                  <a:gd name="T30" fmla="*/ 15 w 36"/>
                  <a:gd name="T31" fmla="*/ 48 h 55"/>
                  <a:gd name="T32" fmla="*/ 28 w 36"/>
                  <a:gd name="T33" fmla="*/ 41 h 55"/>
                  <a:gd name="T34" fmla="*/ 30 w 36"/>
                  <a:gd name="T35" fmla="*/ 29 h 55"/>
                  <a:gd name="T36" fmla="*/ 25 w 36"/>
                  <a:gd name="T37" fmla="*/ 2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6" h="55">
                    <a:moveTo>
                      <a:pt x="30" y="54"/>
                    </a:moveTo>
                    <a:cubicBezTo>
                      <a:pt x="30" y="46"/>
                      <a:pt x="30" y="46"/>
                      <a:pt x="30" y="46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26" y="52"/>
                      <a:pt x="21" y="55"/>
                      <a:pt x="14" y="55"/>
                    </a:cubicBezTo>
                    <a:cubicBezTo>
                      <a:pt x="5" y="55"/>
                      <a:pt x="0" y="49"/>
                      <a:pt x="0" y="41"/>
                    </a:cubicBezTo>
                    <a:cubicBezTo>
                      <a:pt x="0" y="26"/>
                      <a:pt x="19" y="24"/>
                      <a:pt x="30" y="24"/>
                    </a:cubicBezTo>
                    <a:cubicBezTo>
                      <a:pt x="30" y="15"/>
                      <a:pt x="31" y="5"/>
                      <a:pt x="19" y="5"/>
                    </a:cubicBezTo>
                    <a:cubicBezTo>
                      <a:pt x="13" y="5"/>
                      <a:pt x="9" y="7"/>
                      <a:pt x="8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4"/>
                      <a:pt x="11" y="0"/>
                      <a:pt x="19" y="0"/>
                    </a:cubicBezTo>
                    <a:cubicBezTo>
                      <a:pt x="32" y="0"/>
                      <a:pt x="36" y="6"/>
                      <a:pt x="36" y="18"/>
                    </a:cubicBezTo>
                    <a:cubicBezTo>
                      <a:pt x="36" y="54"/>
                      <a:pt x="36" y="54"/>
                      <a:pt x="36" y="54"/>
                    </a:cubicBezTo>
                    <a:lnTo>
                      <a:pt x="30" y="54"/>
                    </a:lnTo>
                    <a:close/>
                    <a:moveTo>
                      <a:pt x="25" y="29"/>
                    </a:moveTo>
                    <a:cubicBezTo>
                      <a:pt x="17" y="29"/>
                      <a:pt x="7" y="32"/>
                      <a:pt x="7" y="41"/>
                    </a:cubicBezTo>
                    <a:cubicBezTo>
                      <a:pt x="7" y="45"/>
                      <a:pt x="11" y="48"/>
                      <a:pt x="15" y="48"/>
                    </a:cubicBezTo>
                    <a:cubicBezTo>
                      <a:pt x="20" y="48"/>
                      <a:pt x="25" y="45"/>
                      <a:pt x="28" y="41"/>
                    </a:cubicBezTo>
                    <a:cubicBezTo>
                      <a:pt x="30" y="37"/>
                      <a:pt x="30" y="34"/>
                      <a:pt x="30" y="29"/>
                    </a:cubicBez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" name="Freeform 10"/>
              <p:cNvSpPr>
                <a:spLocks/>
              </p:cNvSpPr>
              <p:nvPr userDrawn="1"/>
            </p:nvSpPr>
            <p:spPr bwMode="auto">
              <a:xfrm>
                <a:off x="3784601" y="2293938"/>
                <a:ext cx="104775" cy="263525"/>
              </a:xfrm>
              <a:custGeom>
                <a:avLst/>
                <a:gdLst>
                  <a:gd name="T0" fmla="*/ 28 w 28"/>
                  <a:gd name="T1" fmla="*/ 69 h 70"/>
                  <a:gd name="T2" fmla="*/ 22 w 28"/>
                  <a:gd name="T3" fmla="*/ 70 h 70"/>
                  <a:gd name="T4" fmla="*/ 8 w 28"/>
                  <a:gd name="T5" fmla="*/ 57 h 70"/>
                  <a:gd name="T6" fmla="*/ 8 w 28"/>
                  <a:gd name="T7" fmla="*/ 21 h 70"/>
                  <a:gd name="T8" fmla="*/ 0 w 28"/>
                  <a:gd name="T9" fmla="*/ 21 h 70"/>
                  <a:gd name="T10" fmla="*/ 0 w 28"/>
                  <a:gd name="T11" fmla="*/ 16 h 70"/>
                  <a:gd name="T12" fmla="*/ 8 w 28"/>
                  <a:gd name="T13" fmla="*/ 16 h 70"/>
                  <a:gd name="T14" fmla="*/ 8 w 28"/>
                  <a:gd name="T15" fmla="*/ 4 h 70"/>
                  <a:gd name="T16" fmla="*/ 14 w 28"/>
                  <a:gd name="T17" fmla="*/ 0 h 70"/>
                  <a:gd name="T18" fmla="*/ 14 w 28"/>
                  <a:gd name="T19" fmla="*/ 16 h 70"/>
                  <a:gd name="T20" fmla="*/ 28 w 28"/>
                  <a:gd name="T21" fmla="*/ 16 h 70"/>
                  <a:gd name="T22" fmla="*/ 28 w 28"/>
                  <a:gd name="T23" fmla="*/ 21 h 70"/>
                  <a:gd name="T24" fmla="*/ 14 w 28"/>
                  <a:gd name="T25" fmla="*/ 21 h 70"/>
                  <a:gd name="T26" fmla="*/ 14 w 28"/>
                  <a:gd name="T27" fmla="*/ 55 h 70"/>
                  <a:gd name="T28" fmla="*/ 22 w 28"/>
                  <a:gd name="T29" fmla="*/ 65 h 70"/>
                  <a:gd name="T30" fmla="*/ 28 w 28"/>
                  <a:gd name="T31" fmla="*/ 64 h 70"/>
                  <a:gd name="T32" fmla="*/ 28 w 28"/>
                  <a:gd name="T33" fmla="*/ 6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70">
                    <a:moveTo>
                      <a:pt x="28" y="69"/>
                    </a:moveTo>
                    <a:cubicBezTo>
                      <a:pt x="26" y="70"/>
                      <a:pt x="24" y="70"/>
                      <a:pt x="22" y="70"/>
                    </a:cubicBezTo>
                    <a:cubicBezTo>
                      <a:pt x="13" y="70"/>
                      <a:pt x="8" y="66"/>
                      <a:pt x="8" y="57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61"/>
                      <a:pt x="16" y="65"/>
                      <a:pt x="22" y="65"/>
                    </a:cubicBezTo>
                    <a:cubicBezTo>
                      <a:pt x="25" y="65"/>
                      <a:pt x="26" y="64"/>
                      <a:pt x="28" y="64"/>
                    </a:cubicBezTo>
                    <a:lnTo>
                      <a:pt x="28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Freeform 11"/>
              <p:cNvSpPr>
                <a:spLocks noEditPoints="1"/>
              </p:cNvSpPr>
              <p:nvPr userDrawn="1"/>
            </p:nvSpPr>
            <p:spPr bwMode="auto">
              <a:xfrm>
                <a:off x="3908426" y="2351088"/>
                <a:ext cx="142875" cy="206375"/>
              </a:xfrm>
              <a:custGeom>
                <a:avLst/>
                <a:gdLst>
                  <a:gd name="T0" fmla="*/ 36 w 38"/>
                  <a:gd name="T1" fmla="*/ 54 h 55"/>
                  <a:gd name="T2" fmla="*/ 25 w 38"/>
                  <a:gd name="T3" fmla="*/ 55 h 55"/>
                  <a:gd name="T4" fmla="*/ 0 w 38"/>
                  <a:gd name="T5" fmla="*/ 26 h 55"/>
                  <a:gd name="T6" fmla="*/ 20 w 38"/>
                  <a:gd name="T7" fmla="*/ 0 h 55"/>
                  <a:gd name="T8" fmla="*/ 38 w 38"/>
                  <a:gd name="T9" fmla="*/ 19 h 55"/>
                  <a:gd name="T10" fmla="*/ 38 w 38"/>
                  <a:gd name="T11" fmla="*/ 21 h 55"/>
                  <a:gd name="T12" fmla="*/ 7 w 38"/>
                  <a:gd name="T13" fmla="*/ 21 h 55"/>
                  <a:gd name="T14" fmla="*/ 7 w 38"/>
                  <a:gd name="T15" fmla="*/ 27 h 55"/>
                  <a:gd name="T16" fmla="*/ 27 w 38"/>
                  <a:gd name="T17" fmla="*/ 50 h 55"/>
                  <a:gd name="T18" fmla="*/ 36 w 38"/>
                  <a:gd name="T19" fmla="*/ 48 h 55"/>
                  <a:gd name="T20" fmla="*/ 36 w 38"/>
                  <a:gd name="T21" fmla="*/ 54 h 55"/>
                  <a:gd name="T22" fmla="*/ 31 w 38"/>
                  <a:gd name="T23" fmla="*/ 16 h 55"/>
                  <a:gd name="T24" fmla="*/ 20 w 38"/>
                  <a:gd name="T25" fmla="*/ 5 h 55"/>
                  <a:gd name="T26" fmla="*/ 7 w 38"/>
                  <a:gd name="T27" fmla="*/ 16 h 55"/>
                  <a:gd name="T28" fmla="*/ 31 w 38"/>
                  <a:gd name="T29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55">
                    <a:moveTo>
                      <a:pt x="36" y="54"/>
                    </a:moveTo>
                    <a:cubicBezTo>
                      <a:pt x="33" y="54"/>
                      <a:pt x="29" y="55"/>
                      <a:pt x="25" y="55"/>
                    </a:cubicBezTo>
                    <a:cubicBezTo>
                      <a:pt x="7" y="55"/>
                      <a:pt x="0" y="42"/>
                      <a:pt x="0" y="26"/>
                    </a:cubicBezTo>
                    <a:cubicBezTo>
                      <a:pt x="0" y="12"/>
                      <a:pt x="4" y="0"/>
                      <a:pt x="20" y="0"/>
                    </a:cubicBezTo>
                    <a:cubicBezTo>
                      <a:pt x="31" y="0"/>
                      <a:pt x="38" y="8"/>
                      <a:pt x="38" y="19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7" y="25"/>
                      <a:pt x="7" y="27"/>
                    </a:cubicBezTo>
                    <a:cubicBezTo>
                      <a:pt x="7" y="40"/>
                      <a:pt x="12" y="50"/>
                      <a:pt x="27" y="50"/>
                    </a:cubicBezTo>
                    <a:cubicBezTo>
                      <a:pt x="30" y="50"/>
                      <a:pt x="33" y="49"/>
                      <a:pt x="36" y="48"/>
                    </a:cubicBezTo>
                    <a:lnTo>
                      <a:pt x="36" y="54"/>
                    </a:lnTo>
                    <a:close/>
                    <a:moveTo>
                      <a:pt x="31" y="16"/>
                    </a:moveTo>
                    <a:cubicBezTo>
                      <a:pt x="31" y="10"/>
                      <a:pt x="26" y="5"/>
                      <a:pt x="20" y="5"/>
                    </a:cubicBezTo>
                    <a:cubicBezTo>
                      <a:pt x="13" y="5"/>
                      <a:pt x="9" y="9"/>
                      <a:pt x="7" y="16"/>
                    </a:cubicBezTo>
                    <a:lnTo>
                      <a:pt x="31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" name="Freeform 12"/>
              <p:cNvSpPr>
                <a:spLocks noEditPoints="1"/>
              </p:cNvSpPr>
              <p:nvPr userDrawn="1"/>
            </p:nvSpPr>
            <p:spPr bwMode="auto">
              <a:xfrm>
                <a:off x="4076701" y="2351088"/>
                <a:ext cx="146050" cy="284162"/>
              </a:xfrm>
              <a:custGeom>
                <a:avLst/>
                <a:gdLst>
                  <a:gd name="T0" fmla="*/ 33 w 39"/>
                  <a:gd name="T1" fmla="*/ 43 h 76"/>
                  <a:gd name="T2" fmla="*/ 33 w 39"/>
                  <a:gd name="T3" fmla="*/ 43 h 76"/>
                  <a:gd name="T4" fmla="*/ 19 w 39"/>
                  <a:gd name="T5" fmla="*/ 54 h 76"/>
                  <a:gd name="T6" fmla="*/ 0 w 39"/>
                  <a:gd name="T7" fmla="*/ 27 h 76"/>
                  <a:gd name="T8" fmla="*/ 19 w 39"/>
                  <a:gd name="T9" fmla="*/ 0 h 76"/>
                  <a:gd name="T10" fmla="*/ 33 w 39"/>
                  <a:gd name="T11" fmla="*/ 11 h 76"/>
                  <a:gd name="T12" fmla="*/ 33 w 39"/>
                  <a:gd name="T13" fmla="*/ 11 h 76"/>
                  <a:gd name="T14" fmla="*/ 33 w 39"/>
                  <a:gd name="T15" fmla="*/ 1 h 76"/>
                  <a:gd name="T16" fmla="*/ 39 w 39"/>
                  <a:gd name="T17" fmla="*/ 1 h 76"/>
                  <a:gd name="T18" fmla="*/ 39 w 39"/>
                  <a:gd name="T19" fmla="*/ 52 h 76"/>
                  <a:gd name="T20" fmla="*/ 17 w 39"/>
                  <a:gd name="T21" fmla="*/ 76 h 76"/>
                  <a:gd name="T22" fmla="*/ 3 w 39"/>
                  <a:gd name="T23" fmla="*/ 74 h 76"/>
                  <a:gd name="T24" fmla="*/ 3 w 39"/>
                  <a:gd name="T25" fmla="*/ 68 h 76"/>
                  <a:gd name="T26" fmla="*/ 15 w 39"/>
                  <a:gd name="T27" fmla="*/ 70 h 76"/>
                  <a:gd name="T28" fmla="*/ 33 w 39"/>
                  <a:gd name="T29" fmla="*/ 53 h 76"/>
                  <a:gd name="T30" fmla="*/ 33 w 39"/>
                  <a:gd name="T31" fmla="*/ 43 h 76"/>
                  <a:gd name="T32" fmla="*/ 33 w 39"/>
                  <a:gd name="T33" fmla="*/ 27 h 76"/>
                  <a:gd name="T34" fmla="*/ 19 w 39"/>
                  <a:gd name="T35" fmla="*/ 5 h 76"/>
                  <a:gd name="T36" fmla="*/ 7 w 39"/>
                  <a:gd name="T37" fmla="*/ 28 h 76"/>
                  <a:gd name="T38" fmla="*/ 19 w 39"/>
                  <a:gd name="T39" fmla="*/ 48 h 76"/>
                  <a:gd name="T40" fmla="*/ 33 w 39"/>
                  <a:gd name="T41" fmla="*/ 2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9" h="76">
                    <a:moveTo>
                      <a:pt x="33" y="43"/>
                    </a:move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49"/>
                      <a:pt x="26" y="54"/>
                      <a:pt x="19" y="54"/>
                    </a:cubicBezTo>
                    <a:cubicBezTo>
                      <a:pt x="3" y="54"/>
                      <a:pt x="0" y="40"/>
                      <a:pt x="0" y="27"/>
                    </a:cubicBezTo>
                    <a:cubicBezTo>
                      <a:pt x="0" y="16"/>
                      <a:pt x="4" y="0"/>
                      <a:pt x="19" y="0"/>
                    </a:cubicBezTo>
                    <a:cubicBezTo>
                      <a:pt x="26" y="0"/>
                      <a:pt x="31" y="4"/>
                      <a:pt x="33" y="1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39" y="67"/>
                      <a:pt x="32" y="76"/>
                      <a:pt x="17" y="76"/>
                    </a:cubicBezTo>
                    <a:cubicBezTo>
                      <a:pt x="12" y="76"/>
                      <a:pt x="8" y="75"/>
                      <a:pt x="3" y="74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7" y="70"/>
                      <a:pt x="11" y="70"/>
                      <a:pt x="15" y="70"/>
                    </a:cubicBezTo>
                    <a:cubicBezTo>
                      <a:pt x="28" y="70"/>
                      <a:pt x="33" y="66"/>
                      <a:pt x="33" y="53"/>
                    </a:cubicBezTo>
                    <a:lnTo>
                      <a:pt x="33" y="43"/>
                    </a:lnTo>
                    <a:close/>
                    <a:moveTo>
                      <a:pt x="33" y="27"/>
                    </a:moveTo>
                    <a:cubicBezTo>
                      <a:pt x="33" y="18"/>
                      <a:pt x="29" y="5"/>
                      <a:pt x="19" y="5"/>
                    </a:cubicBezTo>
                    <a:cubicBezTo>
                      <a:pt x="9" y="5"/>
                      <a:pt x="7" y="21"/>
                      <a:pt x="7" y="28"/>
                    </a:cubicBezTo>
                    <a:cubicBezTo>
                      <a:pt x="7" y="36"/>
                      <a:pt x="8" y="48"/>
                      <a:pt x="19" y="48"/>
                    </a:cubicBezTo>
                    <a:cubicBezTo>
                      <a:pt x="29" y="48"/>
                      <a:pt x="33" y="35"/>
                      <a:pt x="33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Freeform 49"/>
              <p:cNvSpPr>
                <a:spLocks/>
              </p:cNvSpPr>
              <p:nvPr userDrawn="1"/>
            </p:nvSpPr>
            <p:spPr bwMode="auto">
              <a:xfrm>
                <a:off x="4252913" y="2354263"/>
                <a:ext cx="168275" cy="274637"/>
              </a:xfrm>
              <a:custGeom>
                <a:avLst/>
                <a:gdLst>
                  <a:gd name="T0" fmla="*/ 31 w 106"/>
                  <a:gd name="T1" fmla="*/ 173 h 173"/>
                  <a:gd name="T2" fmla="*/ 50 w 106"/>
                  <a:gd name="T3" fmla="*/ 123 h 173"/>
                  <a:gd name="T4" fmla="*/ 0 w 106"/>
                  <a:gd name="T5" fmla="*/ 0 h 173"/>
                  <a:gd name="T6" fmla="*/ 14 w 106"/>
                  <a:gd name="T7" fmla="*/ 0 h 173"/>
                  <a:gd name="T8" fmla="*/ 54 w 106"/>
                  <a:gd name="T9" fmla="*/ 104 h 173"/>
                  <a:gd name="T10" fmla="*/ 92 w 106"/>
                  <a:gd name="T11" fmla="*/ 0 h 173"/>
                  <a:gd name="T12" fmla="*/ 106 w 106"/>
                  <a:gd name="T13" fmla="*/ 0 h 173"/>
                  <a:gd name="T14" fmla="*/ 47 w 106"/>
                  <a:gd name="T15" fmla="*/ 173 h 173"/>
                  <a:gd name="T16" fmla="*/ 31 w 106"/>
                  <a:gd name="T17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173">
                    <a:moveTo>
                      <a:pt x="31" y="173"/>
                    </a:moveTo>
                    <a:lnTo>
                      <a:pt x="50" y="123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54" y="104"/>
                    </a:lnTo>
                    <a:lnTo>
                      <a:pt x="92" y="0"/>
                    </a:lnTo>
                    <a:lnTo>
                      <a:pt x="106" y="0"/>
                    </a:lnTo>
                    <a:lnTo>
                      <a:pt x="47" y="173"/>
                    </a:lnTo>
                    <a:lnTo>
                      <a:pt x="31" y="1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1681163" y="2290763"/>
              <a:ext cx="1514475" cy="266700"/>
            </a:xfrm>
            <a:custGeom>
              <a:avLst/>
              <a:gdLst>
                <a:gd name="T0" fmla="*/ 18 w 404"/>
                <a:gd name="T1" fmla="*/ 62 h 71"/>
                <a:gd name="T2" fmla="*/ 29 w 404"/>
                <a:gd name="T3" fmla="*/ 46 h 71"/>
                <a:gd name="T4" fmla="*/ 41 w 404"/>
                <a:gd name="T5" fmla="*/ 32 h 71"/>
                <a:gd name="T6" fmla="*/ 2 w 404"/>
                <a:gd name="T7" fmla="*/ 33 h 71"/>
                <a:gd name="T8" fmla="*/ 22 w 404"/>
                <a:gd name="T9" fmla="*/ 24 h 71"/>
                <a:gd name="T10" fmla="*/ 29 w 404"/>
                <a:gd name="T11" fmla="*/ 39 h 71"/>
                <a:gd name="T12" fmla="*/ 15 w 404"/>
                <a:gd name="T13" fmla="*/ 71 h 71"/>
                <a:gd name="T14" fmla="*/ 29 w 404"/>
                <a:gd name="T15" fmla="*/ 64 h 71"/>
                <a:gd name="T16" fmla="*/ 41 w 404"/>
                <a:gd name="T17" fmla="*/ 70 h 71"/>
                <a:gd name="T18" fmla="*/ 90 w 404"/>
                <a:gd name="T19" fmla="*/ 35 h 71"/>
                <a:gd name="T20" fmla="*/ 46 w 404"/>
                <a:gd name="T21" fmla="*/ 41 h 71"/>
                <a:gd name="T22" fmla="*/ 90 w 404"/>
                <a:gd name="T23" fmla="*/ 68 h 71"/>
                <a:gd name="T24" fmla="*/ 81 w 404"/>
                <a:gd name="T25" fmla="*/ 62 h 71"/>
                <a:gd name="T26" fmla="*/ 69 w 404"/>
                <a:gd name="T27" fmla="*/ 24 h 71"/>
                <a:gd name="T28" fmla="*/ 125 w 404"/>
                <a:gd name="T29" fmla="*/ 35 h 71"/>
                <a:gd name="T30" fmla="*/ 118 w 404"/>
                <a:gd name="T31" fmla="*/ 16 h 71"/>
                <a:gd name="T32" fmla="*/ 122 w 404"/>
                <a:gd name="T33" fmla="*/ 71 h 71"/>
                <a:gd name="T34" fmla="*/ 137 w 404"/>
                <a:gd name="T35" fmla="*/ 61 h 71"/>
                <a:gd name="T36" fmla="*/ 107 w 404"/>
                <a:gd name="T37" fmla="*/ 39 h 71"/>
                <a:gd name="T38" fmla="*/ 125 w 404"/>
                <a:gd name="T39" fmla="*/ 35 h 71"/>
                <a:gd name="T40" fmla="*/ 153 w 404"/>
                <a:gd name="T41" fmla="*/ 33 h 71"/>
                <a:gd name="T42" fmla="*/ 173 w 404"/>
                <a:gd name="T43" fmla="*/ 33 h 71"/>
                <a:gd name="T44" fmla="*/ 184 w 404"/>
                <a:gd name="T45" fmla="*/ 37 h 71"/>
                <a:gd name="T46" fmla="*/ 142 w 404"/>
                <a:gd name="T47" fmla="*/ 41 h 71"/>
                <a:gd name="T48" fmla="*/ 183 w 404"/>
                <a:gd name="T49" fmla="*/ 69 h 71"/>
                <a:gd name="T50" fmla="*/ 173 w 404"/>
                <a:gd name="T51" fmla="*/ 62 h 71"/>
                <a:gd name="T52" fmla="*/ 184 w 404"/>
                <a:gd name="T53" fmla="*/ 40 h 71"/>
                <a:gd name="T54" fmla="*/ 233 w 404"/>
                <a:gd name="T55" fmla="*/ 70 h 71"/>
                <a:gd name="T56" fmla="*/ 219 w 404"/>
                <a:gd name="T57" fmla="*/ 16 h 71"/>
                <a:gd name="T58" fmla="*/ 203 w 404"/>
                <a:gd name="T59" fmla="*/ 27 h 71"/>
                <a:gd name="T60" fmla="*/ 191 w 404"/>
                <a:gd name="T61" fmla="*/ 17 h 71"/>
                <a:gd name="T62" fmla="*/ 203 w 404"/>
                <a:gd name="T63" fmla="*/ 70 h 71"/>
                <a:gd name="T64" fmla="*/ 215 w 404"/>
                <a:gd name="T65" fmla="*/ 27 h 71"/>
                <a:gd name="T66" fmla="*/ 221 w 404"/>
                <a:gd name="T67" fmla="*/ 40 h 71"/>
                <a:gd name="T68" fmla="*/ 258 w 404"/>
                <a:gd name="T69" fmla="*/ 26 h 71"/>
                <a:gd name="T70" fmla="*/ 274 w 404"/>
                <a:gd name="T71" fmla="*/ 17 h 71"/>
                <a:gd name="T72" fmla="*/ 258 w 404"/>
                <a:gd name="T73" fmla="*/ 0 h 71"/>
                <a:gd name="T74" fmla="*/ 246 w 404"/>
                <a:gd name="T75" fmla="*/ 17 h 71"/>
                <a:gd name="T76" fmla="*/ 236 w 404"/>
                <a:gd name="T77" fmla="*/ 26 h 71"/>
                <a:gd name="T78" fmla="*/ 246 w 404"/>
                <a:gd name="T79" fmla="*/ 56 h 71"/>
                <a:gd name="T80" fmla="*/ 272 w 404"/>
                <a:gd name="T81" fmla="*/ 70 h 71"/>
                <a:gd name="T82" fmla="*/ 267 w 404"/>
                <a:gd name="T83" fmla="*/ 62 h 71"/>
                <a:gd name="T84" fmla="*/ 258 w 404"/>
                <a:gd name="T85" fmla="*/ 26 h 71"/>
                <a:gd name="T86" fmla="*/ 322 w 404"/>
                <a:gd name="T87" fmla="*/ 70 h 71"/>
                <a:gd name="T88" fmla="*/ 310 w 404"/>
                <a:gd name="T89" fmla="*/ 17 h 71"/>
                <a:gd name="T90" fmla="*/ 297 w 404"/>
                <a:gd name="T91" fmla="*/ 59 h 71"/>
                <a:gd name="T92" fmla="*/ 292 w 404"/>
                <a:gd name="T93" fmla="*/ 47 h 71"/>
                <a:gd name="T94" fmla="*/ 280 w 404"/>
                <a:gd name="T95" fmla="*/ 17 h 71"/>
                <a:gd name="T96" fmla="*/ 294 w 404"/>
                <a:gd name="T97" fmla="*/ 71 h 71"/>
                <a:gd name="T98" fmla="*/ 310 w 404"/>
                <a:gd name="T99" fmla="*/ 60 h 71"/>
                <a:gd name="T100" fmla="*/ 342 w 404"/>
                <a:gd name="T101" fmla="*/ 47 h 71"/>
                <a:gd name="T102" fmla="*/ 359 w 404"/>
                <a:gd name="T103" fmla="*/ 16 h 71"/>
                <a:gd name="T104" fmla="*/ 342 w 404"/>
                <a:gd name="T105" fmla="*/ 27 h 71"/>
                <a:gd name="T106" fmla="*/ 330 w 404"/>
                <a:gd name="T107" fmla="*/ 17 h 71"/>
                <a:gd name="T108" fmla="*/ 342 w 404"/>
                <a:gd name="T109" fmla="*/ 70 h 71"/>
                <a:gd name="T110" fmla="*/ 393 w 404"/>
                <a:gd name="T111" fmla="*/ 33 h 71"/>
                <a:gd name="T112" fmla="*/ 383 w 404"/>
                <a:gd name="T113" fmla="*/ 24 h 71"/>
                <a:gd name="T114" fmla="*/ 404 w 404"/>
                <a:gd name="T115" fmla="*/ 40 h 71"/>
                <a:gd name="T116" fmla="*/ 384 w 404"/>
                <a:gd name="T117" fmla="*/ 16 h 71"/>
                <a:gd name="T118" fmla="*/ 388 w 404"/>
                <a:gd name="T119" fmla="*/ 71 h 71"/>
                <a:gd name="T120" fmla="*/ 403 w 404"/>
                <a:gd name="T121" fmla="*/ 60 h 71"/>
                <a:gd name="T122" fmla="*/ 373 w 404"/>
                <a:gd name="T123" fmla="*/ 4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4" h="71">
                  <a:moveTo>
                    <a:pt x="29" y="46"/>
                  </a:moveTo>
                  <a:cubicBezTo>
                    <a:pt x="29" y="53"/>
                    <a:pt x="26" y="62"/>
                    <a:pt x="18" y="62"/>
                  </a:cubicBezTo>
                  <a:cubicBezTo>
                    <a:pt x="14" y="62"/>
                    <a:pt x="12" y="60"/>
                    <a:pt x="12" y="56"/>
                  </a:cubicBezTo>
                  <a:cubicBezTo>
                    <a:pt x="12" y="48"/>
                    <a:pt x="23" y="46"/>
                    <a:pt x="29" y="46"/>
                  </a:cubicBezTo>
                  <a:moveTo>
                    <a:pt x="41" y="70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20"/>
                    <a:pt x="33" y="16"/>
                    <a:pt x="22" y="16"/>
                  </a:cubicBezTo>
                  <a:cubicBezTo>
                    <a:pt x="11" y="16"/>
                    <a:pt x="2" y="20"/>
                    <a:pt x="2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27"/>
                    <a:pt x="17" y="24"/>
                    <a:pt x="22" y="24"/>
                  </a:cubicBezTo>
                  <a:cubicBezTo>
                    <a:pt x="28" y="24"/>
                    <a:pt x="29" y="29"/>
                    <a:pt x="29" y="34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17" y="40"/>
                    <a:pt x="0" y="41"/>
                    <a:pt x="0" y="57"/>
                  </a:cubicBezTo>
                  <a:cubicBezTo>
                    <a:pt x="0" y="66"/>
                    <a:pt x="7" y="71"/>
                    <a:pt x="15" y="71"/>
                  </a:cubicBezTo>
                  <a:cubicBezTo>
                    <a:pt x="21" y="71"/>
                    <a:pt x="26" y="69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41" y="70"/>
                    <a:pt x="41" y="70"/>
                    <a:pt x="41" y="70"/>
                  </a:cubicBezTo>
                  <a:moveTo>
                    <a:pt x="77" y="35"/>
                  </a:moveTo>
                  <a:cubicBezTo>
                    <a:pt x="90" y="35"/>
                    <a:pt x="90" y="35"/>
                    <a:pt x="90" y="35"/>
                  </a:cubicBezTo>
                  <a:cubicBezTo>
                    <a:pt x="90" y="22"/>
                    <a:pt x="83" y="16"/>
                    <a:pt x="70" y="16"/>
                  </a:cubicBezTo>
                  <a:cubicBezTo>
                    <a:pt x="55" y="16"/>
                    <a:pt x="46" y="26"/>
                    <a:pt x="46" y="41"/>
                  </a:cubicBezTo>
                  <a:cubicBezTo>
                    <a:pt x="46" y="59"/>
                    <a:pt x="56" y="71"/>
                    <a:pt x="75" y="71"/>
                  </a:cubicBezTo>
                  <a:cubicBezTo>
                    <a:pt x="80" y="71"/>
                    <a:pt x="85" y="70"/>
                    <a:pt x="90" y="6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87" y="62"/>
                    <a:pt x="84" y="62"/>
                    <a:pt x="81" y="62"/>
                  </a:cubicBezTo>
                  <a:cubicBezTo>
                    <a:pt x="67" y="62"/>
                    <a:pt x="59" y="52"/>
                    <a:pt x="59" y="39"/>
                  </a:cubicBezTo>
                  <a:cubicBezTo>
                    <a:pt x="59" y="33"/>
                    <a:pt x="62" y="24"/>
                    <a:pt x="69" y="24"/>
                  </a:cubicBezTo>
                  <a:cubicBezTo>
                    <a:pt x="76" y="24"/>
                    <a:pt x="77" y="30"/>
                    <a:pt x="77" y="35"/>
                  </a:cubicBezTo>
                  <a:moveTo>
                    <a:pt x="125" y="35"/>
                  </a:moveTo>
                  <a:cubicBezTo>
                    <a:pt x="138" y="35"/>
                    <a:pt x="138" y="35"/>
                    <a:pt x="138" y="35"/>
                  </a:cubicBezTo>
                  <a:cubicBezTo>
                    <a:pt x="138" y="22"/>
                    <a:pt x="130" y="16"/>
                    <a:pt x="118" y="16"/>
                  </a:cubicBezTo>
                  <a:cubicBezTo>
                    <a:pt x="102" y="16"/>
                    <a:pt x="93" y="26"/>
                    <a:pt x="93" y="41"/>
                  </a:cubicBezTo>
                  <a:cubicBezTo>
                    <a:pt x="93" y="59"/>
                    <a:pt x="103" y="71"/>
                    <a:pt x="122" y="71"/>
                  </a:cubicBezTo>
                  <a:cubicBezTo>
                    <a:pt x="127" y="71"/>
                    <a:pt x="132" y="70"/>
                    <a:pt x="137" y="68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4" y="62"/>
                    <a:pt x="131" y="62"/>
                    <a:pt x="128" y="62"/>
                  </a:cubicBezTo>
                  <a:cubicBezTo>
                    <a:pt x="114" y="62"/>
                    <a:pt x="107" y="52"/>
                    <a:pt x="107" y="39"/>
                  </a:cubicBezTo>
                  <a:cubicBezTo>
                    <a:pt x="107" y="33"/>
                    <a:pt x="109" y="24"/>
                    <a:pt x="117" y="24"/>
                  </a:cubicBezTo>
                  <a:cubicBezTo>
                    <a:pt x="123" y="24"/>
                    <a:pt x="125" y="30"/>
                    <a:pt x="125" y="35"/>
                  </a:cubicBezTo>
                  <a:moveTo>
                    <a:pt x="173" y="33"/>
                  </a:moveTo>
                  <a:cubicBezTo>
                    <a:pt x="153" y="33"/>
                    <a:pt x="153" y="33"/>
                    <a:pt x="153" y="33"/>
                  </a:cubicBezTo>
                  <a:cubicBezTo>
                    <a:pt x="154" y="27"/>
                    <a:pt x="158" y="24"/>
                    <a:pt x="163" y="24"/>
                  </a:cubicBezTo>
                  <a:cubicBezTo>
                    <a:pt x="169" y="24"/>
                    <a:pt x="173" y="27"/>
                    <a:pt x="173" y="33"/>
                  </a:cubicBezTo>
                  <a:moveTo>
                    <a:pt x="184" y="40"/>
                  </a:moveTo>
                  <a:cubicBezTo>
                    <a:pt x="184" y="37"/>
                    <a:pt x="184" y="37"/>
                    <a:pt x="184" y="37"/>
                  </a:cubicBezTo>
                  <a:cubicBezTo>
                    <a:pt x="184" y="24"/>
                    <a:pt x="178" y="16"/>
                    <a:pt x="164" y="16"/>
                  </a:cubicBezTo>
                  <a:cubicBezTo>
                    <a:pt x="149" y="16"/>
                    <a:pt x="142" y="26"/>
                    <a:pt x="142" y="41"/>
                  </a:cubicBezTo>
                  <a:cubicBezTo>
                    <a:pt x="142" y="58"/>
                    <a:pt x="150" y="71"/>
                    <a:pt x="168" y="71"/>
                  </a:cubicBezTo>
                  <a:cubicBezTo>
                    <a:pt x="173" y="71"/>
                    <a:pt x="178" y="70"/>
                    <a:pt x="183" y="69"/>
                  </a:cubicBezTo>
                  <a:cubicBezTo>
                    <a:pt x="183" y="60"/>
                    <a:pt x="183" y="60"/>
                    <a:pt x="183" y="60"/>
                  </a:cubicBezTo>
                  <a:cubicBezTo>
                    <a:pt x="180" y="61"/>
                    <a:pt x="176" y="62"/>
                    <a:pt x="173" y="62"/>
                  </a:cubicBezTo>
                  <a:cubicBezTo>
                    <a:pt x="161" y="62"/>
                    <a:pt x="153" y="51"/>
                    <a:pt x="153" y="40"/>
                  </a:cubicBezTo>
                  <a:cubicBezTo>
                    <a:pt x="184" y="40"/>
                    <a:pt x="184" y="40"/>
                    <a:pt x="184" y="40"/>
                  </a:cubicBezTo>
                  <a:moveTo>
                    <a:pt x="221" y="70"/>
                  </a:moveTo>
                  <a:cubicBezTo>
                    <a:pt x="233" y="70"/>
                    <a:pt x="233" y="70"/>
                    <a:pt x="233" y="70"/>
                  </a:cubicBezTo>
                  <a:cubicBezTo>
                    <a:pt x="233" y="33"/>
                    <a:pt x="233" y="33"/>
                    <a:pt x="233" y="33"/>
                  </a:cubicBezTo>
                  <a:cubicBezTo>
                    <a:pt x="233" y="24"/>
                    <a:pt x="229" y="16"/>
                    <a:pt x="219" y="16"/>
                  </a:cubicBezTo>
                  <a:cubicBezTo>
                    <a:pt x="211" y="16"/>
                    <a:pt x="206" y="20"/>
                    <a:pt x="203" y="27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203" y="70"/>
                    <a:pt x="203" y="70"/>
                    <a:pt x="203" y="70"/>
                  </a:cubicBezTo>
                  <a:cubicBezTo>
                    <a:pt x="203" y="47"/>
                    <a:pt x="203" y="47"/>
                    <a:pt x="203" y="47"/>
                  </a:cubicBezTo>
                  <a:cubicBezTo>
                    <a:pt x="203" y="40"/>
                    <a:pt x="206" y="27"/>
                    <a:pt x="215" y="27"/>
                  </a:cubicBezTo>
                  <a:cubicBezTo>
                    <a:pt x="217" y="27"/>
                    <a:pt x="218" y="27"/>
                    <a:pt x="219" y="28"/>
                  </a:cubicBezTo>
                  <a:cubicBezTo>
                    <a:pt x="221" y="30"/>
                    <a:pt x="221" y="37"/>
                    <a:pt x="221" y="40"/>
                  </a:cubicBezTo>
                  <a:cubicBezTo>
                    <a:pt x="221" y="70"/>
                    <a:pt x="221" y="70"/>
                    <a:pt x="221" y="70"/>
                  </a:cubicBezTo>
                  <a:moveTo>
                    <a:pt x="258" y="26"/>
                  </a:moveTo>
                  <a:cubicBezTo>
                    <a:pt x="274" y="26"/>
                    <a:pt x="274" y="26"/>
                    <a:pt x="274" y="26"/>
                  </a:cubicBezTo>
                  <a:cubicBezTo>
                    <a:pt x="274" y="17"/>
                    <a:pt x="274" y="17"/>
                    <a:pt x="274" y="17"/>
                  </a:cubicBezTo>
                  <a:cubicBezTo>
                    <a:pt x="258" y="17"/>
                    <a:pt x="258" y="17"/>
                    <a:pt x="258" y="17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36" y="17"/>
                    <a:pt x="236" y="17"/>
                    <a:pt x="236" y="17"/>
                  </a:cubicBezTo>
                  <a:cubicBezTo>
                    <a:pt x="236" y="26"/>
                    <a:pt x="236" y="26"/>
                    <a:pt x="236" y="26"/>
                  </a:cubicBezTo>
                  <a:cubicBezTo>
                    <a:pt x="246" y="26"/>
                    <a:pt x="246" y="26"/>
                    <a:pt x="246" y="2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67"/>
                    <a:pt x="252" y="71"/>
                    <a:pt x="262" y="71"/>
                  </a:cubicBezTo>
                  <a:cubicBezTo>
                    <a:pt x="266" y="71"/>
                    <a:pt x="269" y="71"/>
                    <a:pt x="272" y="70"/>
                  </a:cubicBezTo>
                  <a:cubicBezTo>
                    <a:pt x="272" y="61"/>
                    <a:pt x="272" y="61"/>
                    <a:pt x="272" y="61"/>
                  </a:cubicBezTo>
                  <a:cubicBezTo>
                    <a:pt x="271" y="62"/>
                    <a:pt x="269" y="62"/>
                    <a:pt x="267" y="62"/>
                  </a:cubicBezTo>
                  <a:cubicBezTo>
                    <a:pt x="259" y="62"/>
                    <a:pt x="258" y="57"/>
                    <a:pt x="258" y="50"/>
                  </a:cubicBezTo>
                  <a:cubicBezTo>
                    <a:pt x="258" y="26"/>
                    <a:pt x="258" y="26"/>
                    <a:pt x="258" y="26"/>
                  </a:cubicBezTo>
                  <a:moveTo>
                    <a:pt x="310" y="70"/>
                  </a:moveTo>
                  <a:cubicBezTo>
                    <a:pt x="322" y="70"/>
                    <a:pt x="322" y="70"/>
                    <a:pt x="322" y="70"/>
                  </a:cubicBezTo>
                  <a:cubicBezTo>
                    <a:pt x="322" y="17"/>
                    <a:pt x="322" y="17"/>
                    <a:pt x="322" y="17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40"/>
                    <a:pt x="310" y="40"/>
                    <a:pt x="310" y="40"/>
                  </a:cubicBezTo>
                  <a:cubicBezTo>
                    <a:pt x="310" y="47"/>
                    <a:pt x="306" y="59"/>
                    <a:pt x="297" y="59"/>
                  </a:cubicBezTo>
                  <a:cubicBezTo>
                    <a:pt x="296" y="59"/>
                    <a:pt x="295" y="59"/>
                    <a:pt x="294" y="58"/>
                  </a:cubicBezTo>
                  <a:cubicBezTo>
                    <a:pt x="292" y="56"/>
                    <a:pt x="292" y="50"/>
                    <a:pt x="292" y="47"/>
                  </a:cubicBezTo>
                  <a:cubicBezTo>
                    <a:pt x="292" y="17"/>
                    <a:pt x="292" y="17"/>
                    <a:pt x="292" y="17"/>
                  </a:cubicBezTo>
                  <a:cubicBezTo>
                    <a:pt x="280" y="17"/>
                    <a:pt x="280" y="17"/>
                    <a:pt x="280" y="17"/>
                  </a:cubicBezTo>
                  <a:cubicBezTo>
                    <a:pt x="280" y="54"/>
                    <a:pt x="280" y="54"/>
                    <a:pt x="280" y="54"/>
                  </a:cubicBezTo>
                  <a:cubicBezTo>
                    <a:pt x="280" y="63"/>
                    <a:pt x="284" y="71"/>
                    <a:pt x="294" y="71"/>
                  </a:cubicBezTo>
                  <a:cubicBezTo>
                    <a:pt x="301" y="71"/>
                    <a:pt x="307" y="66"/>
                    <a:pt x="309" y="60"/>
                  </a:cubicBezTo>
                  <a:cubicBezTo>
                    <a:pt x="310" y="60"/>
                    <a:pt x="310" y="60"/>
                    <a:pt x="310" y="60"/>
                  </a:cubicBezTo>
                  <a:cubicBezTo>
                    <a:pt x="310" y="70"/>
                    <a:pt x="310" y="70"/>
                    <a:pt x="310" y="70"/>
                  </a:cubicBezTo>
                  <a:moveTo>
                    <a:pt x="342" y="47"/>
                  </a:moveTo>
                  <a:cubicBezTo>
                    <a:pt x="342" y="34"/>
                    <a:pt x="347" y="29"/>
                    <a:pt x="359" y="29"/>
                  </a:cubicBezTo>
                  <a:cubicBezTo>
                    <a:pt x="359" y="16"/>
                    <a:pt x="359" y="16"/>
                    <a:pt x="359" y="16"/>
                  </a:cubicBezTo>
                  <a:cubicBezTo>
                    <a:pt x="350" y="16"/>
                    <a:pt x="346" y="19"/>
                    <a:pt x="342" y="27"/>
                  </a:cubicBezTo>
                  <a:cubicBezTo>
                    <a:pt x="342" y="27"/>
                    <a:pt x="342" y="27"/>
                    <a:pt x="342" y="27"/>
                  </a:cubicBezTo>
                  <a:cubicBezTo>
                    <a:pt x="342" y="17"/>
                    <a:pt x="342" y="17"/>
                    <a:pt x="342" y="17"/>
                  </a:cubicBezTo>
                  <a:cubicBezTo>
                    <a:pt x="330" y="17"/>
                    <a:pt x="330" y="17"/>
                    <a:pt x="330" y="17"/>
                  </a:cubicBezTo>
                  <a:cubicBezTo>
                    <a:pt x="330" y="70"/>
                    <a:pt x="330" y="70"/>
                    <a:pt x="330" y="70"/>
                  </a:cubicBezTo>
                  <a:cubicBezTo>
                    <a:pt x="342" y="70"/>
                    <a:pt x="342" y="70"/>
                    <a:pt x="342" y="70"/>
                  </a:cubicBezTo>
                  <a:cubicBezTo>
                    <a:pt x="342" y="47"/>
                    <a:pt x="342" y="47"/>
                    <a:pt x="342" y="47"/>
                  </a:cubicBezTo>
                  <a:moveTo>
                    <a:pt x="393" y="33"/>
                  </a:moveTo>
                  <a:cubicBezTo>
                    <a:pt x="373" y="33"/>
                    <a:pt x="373" y="33"/>
                    <a:pt x="373" y="33"/>
                  </a:cubicBezTo>
                  <a:cubicBezTo>
                    <a:pt x="374" y="27"/>
                    <a:pt x="378" y="24"/>
                    <a:pt x="383" y="24"/>
                  </a:cubicBezTo>
                  <a:cubicBezTo>
                    <a:pt x="389" y="24"/>
                    <a:pt x="393" y="27"/>
                    <a:pt x="393" y="33"/>
                  </a:cubicBezTo>
                  <a:moveTo>
                    <a:pt x="404" y="40"/>
                  </a:moveTo>
                  <a:cubicBezTo>
                    <a:pt x="404" y="37"/>
                    <a:pt x="404" y="37"/>
                    <a:pt x="404" y="37"/>
                  </a:cubicBezTo>
                  <a:cubicBezTo>
                    <a:pt x="404" y="24"/>
                    <a:pt x="398" y="16"/>
                    <a:pt x="384" y="16"/>
                  </a:cubicBezTo>
                  <a:cubicBezTo>
                    <a:pt x="369" y="16"/>
                    <a:pt x="362" y="26"/>
                    <a:pt x="362" y="41"/>
                  </a:cubicBezTo>
                  <a:cubicBezTo>
                    <a:pt x="362" y="58"/>
                    <a:pt x="370" y="71"/>
                    <a:pt x="388" y="71"/>
                  </a:cubicBezTo>
                  <a:cubicBezTo>
                    <a:pt x="393" y="71"/>
                    <a:pt x="398" y="70"/>
                    <a:pt x="403" y="69"/>
                  </a:cubicBezTo>
                  <a:cubicBezTo>
                    <a:pt x="403" y="60"/>
                    <a:pt x="403" y="60"/>
                    <a:pt x="403" y="60"/>
                  </a:cubicBezTo>
                  <a:cubicBezTo>
                    <a:pt x="400" y="61"/>
                    <a:pt x="396" y="62"/>
                    <a:pt x="393" y="62"/>
                  </a:cubicBezTo>
                  <a:cubicBezTo>
                    <a:pt x="381" y="62"/>
                    <a:pt x="373" y="51"/>
                    <a:pt x="373" y="40"/>
                  </a:cubicBezTo>
                  <a:cubicBezTo>
                    <a:pt x="404" y="40"/>
                    <a:pt x="404" y="40"/>
                    <a:pt x="404" y="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2570163" y="2122488"/>
              <a:ext cx="141288" cy="146050"/>
            </a:xfrm>
            <a:custGeom>
              <a:avLst/>
              <a:gdLst>
                <a:gd name="T0" fmla="*/ 0 w 38"/>
                <a:gd name="T1" fmla="*/ 0 h 39"/>
                <a:gd name="T2" fmla="*/ 0 w 38"/>
                <a:gd name="T3" fmla="*/ 9 h 39"/>
                <a:gd name="T4" fmla="*/ 28 w 38"/>
                <a:gd name="T5" fmla="*/ 20 h 39"/>
                <a:gd name="T6" fmla="*/ 0 w 38"/>
                <a:gd name="T7" fmla="*/ 31 h 39"/>
                <a:gd name="T8" fmla="*/ 0 w 38"/>
                <a:gd name="T9" fmla="*/ 39 h 39"/>
                <a:gd name="T10" fmla="*/ 38 w 38"/>
                <a:gd name="T11" fmla="*/ 24 h 39"/>
                <a:gd name="T12" fmla="*/ 38 w 38"/>
                <a:gd name="T13" fmla="*/ 16 h 39"/>
                <a:gd name="T14" fmla="*/ 0 w 38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24" y="18"/>
                    <a:pt x="28" y="20"/>
                  </a:cubicBezTo>
                  <a:cubicBezTo>
                    <a:pt x="24" y="21"/>
                    <a:pt x="0" y="31"/>
                    <a:pt x="0" y="3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2635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_Bottom_Colou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466859" y="312917"/>
            <a:ext cx="3920730" cy="550287"/>
            <a:chOff x="1681163" y="2122488"/>
            <a:chExt cx="2740025" cy="512762"/>
          </a:xfrm>
        </p:grpSpPr>
        <p:sp>
          <p:nvSpPr>
            <p:cNvPr id="4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1684338" y="2125663"/>
              <a:ext cx="2733675" cy="506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17" name="Group 16"/>
            <p:cNvGrpSpPr/>
            <p:nvPr userDrawn="1"/>
          </p:nvGrpSpPr>
          <p:grpSpPr>
            <a:xfrm>
              <a:off x="3233738" y="2293938"/>
              <a:ext cx="1187450" cy="341312"/>
              <a:chOff x="3233738" y="2293938"/>
              <a:chExt cx="1187450" cy="341312"/>
            </a:xfrm>
            <a:solidFill>
              <a:srgbClr val="FF0000"/>
            </a:solidFill>
          </p:grpSpPr>
          <p:sp>
            <p:nvSpPr>
              <p:cNvPr id="5" name="Freeform 6"/>
              <p:cNvSpPr>
                <a:spLocks/>
              </p:cNvSpPr>
              <p:nvPr userDrawn="1"/>
            </p:nvSpPr>
            <p:spPr bwMode="auto">
              <a:xfrm>
                <a:off x="3233738" y="2351088"/>
                <a:ext cx="127000" cy="206375"/>
              </a:xfrm>
              <a:custGeom>
                <a:avLst/>
                <a:gdLst>
                  <a:gd name="T0" fmla="*/ 0 w 34"/>
                  <a:gd name="T1" fmla="*/ 47 h 55"/>
                  <a:gd name="T2" fmla="*/ 14 w 34"/>
                  <a:gd name="T3" fmla="*/ 50 h 55"/>
                  <a:gd name="T4" fmla="*/ 27 w 34"/>
                  <a:gd name="T5" fmla="*/ 40 h 55"/>
                  <a:gd name="T6" fmla="*/ 0 w 34"/>
                  <a:gd name="T7" fmla="*/ 14 h 55"/>
                  <a:gd name="T8" fmla="*/ 18 w 34"/>
                  <a:gd name="T9" fmla="*/ 0 h 55"/>
                  <a:gd name="T10" fmla="*/ 31 w 34"/>
                  <a:gd name="T11" fmla="*/ 2 h 55"/>
                  <a:gd name="T12" fmla="*/ 31 w 34"/>
                  <a:gd name="T13" fmla="*/ 7 h 55"/>
                  <a:gd name="T14" fmla="*/ 18 w 34"/>
                  <a:gd name="T15" fmla="*/ 5 h 55"/>
                  <a:gd name="T16" fmla="*/ 7 w 34"/>
                  <a:gd name="T17" fmla="*/ 13 h 55"/>
                  <a:gd name="T18" fmla="*/ 17 w 34"/>
                  <a:gd name="T19" fmla="*/ 22 h 55"/>
                  <a:gd name="T20" fmla="*/ 22 w 34"/>
                  <a:gd name="T21" fmla="*/ 24 h 55"/>
                  <a:gd name="T22" fmla="*/ 34 w 34"/>
                  <a:gd name="T23" fmla="*/ 39 h 55"/>
                  <a:gd name="T24" fmla="*/ 14 w 34"/>
                  <a:gd name="T25" fmla="*/ 55 h 55"/>
                  <a:gd name="T26" fmla="*/ 0 w 34"/>
                  <a:gd name="T27" fmla="*/ 53 h 55"/>
                  <a:gd name="T28" fmla="*/ 0 w 34"/>
                  <a:gd name="T29" fmla="*/ 4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55">
                    <a:moveTo>
                      <a:pt x="0" y="47"/>
                    </a:moveTo>
                    <a:cubicBezTo>
                      <a:pt x="4" y="48"/>
                      <a:pt x="9" y="50"/>
                      <a:pt x="14" y="50"/>
                    </a:cubicBezTo>
                    <a:cubicBezTo>
                      <a:pt x="21" y="50"/>
                      <a:pt x="27" y="47"/>
                      <a:pt x="27" y="40"/>
                    </a:cubicBezTo>
                    <a:cubicBezTo>
                      <a:pt x="27" y="27"/>
                      <a:pt x="0" y="29"/>
                      <a:pt x="0" y="14"/>
                    </a:cubicBezTo>
                    <a:cubicBezTo>
                      <a:pt x="0" y="3"/>
                      <a:pt x="8" y="0"/>
                      <a:pt x="18" y="0"/>
                    </a:cubicBezTo>
                    <a:cubicBezTo>
                      <a:pt x="22" y="0"/>
                      <a:pt x="26" y="1"/>
                      <a:pt x="31" y="2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7" y="6"/>
                      <a:pt x="22" y="5"/>
                      <a:pt x="18" y="5"/>
                    </a:cubicBezTo>
                    <a:cubicBezTo>
                      <a:pt x="14" y="5"/>
                      <a:pt x="7" y="7"/>
                      <a:pt x="7" y="13"/>
                    </a:cubicBezTo>
                    <a:cubicBezTo>
                      <a:pt x="7" y="18"/>
                      <a:pt x="13" y="20"/>
                      <a:pt x="17" y="22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8" y="28"/>
                      <a:pt x="34" y="30"/>
                      <a:pt x="34" y="39"/>
                    </a:cubicBezTo>
                    <a:cubicBezTo>
                      <a:pt x="34" y="51"/>
                      <a:pt x="24" y="55"/>
                      <a:pt x="14" y="55"/>
                    </a:cubicBezTo>
                    <a:cubicBezTo>
                      <a:pt x="10" y="55"/>
                      <a:pt x="4" y="54"/>
                      <a:pt x="0" y="53"/>
                    </a:cubicBezTo>
                    <a:lnTo>
                      <a:pt x="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" name="Freeform 7"/>
              <p:cNvSpPr>
                <a:spLocks/>
              </p:cNvSpPr>
              <p:nvPr userDrawn="1"/>
            </p:nvSpPr>
            <p:spPr bwMode="auto">
              <a:xfrm>
                <a:off x="3379788" y="2293938"/>
                <a:ext cx="104775" cy="263525"/>
              </a:xfrm>
              <a:custGeom>
                <a:avLst/>
                <a:gdLst>
                  <a:gd name="T0" fmla="*/ 28 w 28"/>
                  <a:gd name="T1" fmla="*/ 69 h 70"/>
                  <a:gd name="T2" fmla="*/ 22 w 28"/>
                  <a:gd name="T3" fmla="*/ 70 h 70"/>
                  <a:gd name="T4" fmla="*/ 8 w 28"/>
                  <a:gd name="T5" fmla="*/ 57 h 70"/>
                  <a:gd name="T6" fmla="*/ 8 w 28"/>
                  <a:gd name="T7" fmla="*/ 21 h 70"/>
                  <a:gd name="T8" fmla="*/ 0 w 28"/>
                  <a:gd name="T9" fmla="*/ 21 h 70"/>
                  <a:gd name="T10" fmla="*/ 0 w 28"/>
                  <a:gd name="T11" fmla="*/ 16 h 70"/>
                  <a:gd name="T12" fmla="*/ 8 w 28"/>
                  <a:gd name="T13" fmla="*/ 16 h 70"/>
                  <a:gd name="T14" fmla="*/ 8 w 28"/>
                  <a:gd name="T15" fmla="*/ 4 h 70"/>
                  <a:gd name="T16" fmla="*/ 14 w 28"/>
                  <a:gd name="T17" fmla="*/ 0 h 70"/>
                  <a:gd name="T18" fmla="*/ 14 w 28"/>
                  <a:gd name="T19" fmla="*/ 16 h 70"/>
                  <a:gd name="T20" fmla="*/ 28 w 28"/>
                  <a:gd name="T21" fmla="*/ 16 h 70"/>
                  <a:gd name="T22" fmla="*/ 28 w 28"/>
                  <a:gd name="T23" fmla="*/ 21 h 70"/>
                  <a:gd name="T24" fmla="*/ 14 w 28"/>
                  <a:gd name="T25" fmla="*/ 21 h 70"/>
                  <a:gd name="T26" fmla="*/ 14 w 28"/>
                  <a:gd name="T27" fmla="*/ 55 h 70"/>
                  <a:gd name="T28" fmla="*/ 23 w 28"/>
                  <a:gd name="T29" fmla="*/ 65 h 70"/>
                  <a:gd name="T30" fmla="*/ 28 w 28"/>
                  <a:gd name="T31" fmla="*/ 64 h 70"/>
                  <a:gd name="T32" fmla="*/ 28 w 28"/>
                  <a:gd name="T33" fmla="*/ 6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70">
                    <a:moveTo>
                      <a:pt x="28" y="69"/>
                    </a:moveTo>
                    <a:cubicBezTo>
                      <a:pt x="26" y="70"/>
                      <a:pt x="24" y="70"/>
                      <a:pt x="22" y="70"/>
                    </a:cubicBezTo>
                    <a:cubicBezTo>
                      <a:pt x="13" y="70"/>
                      <a:pt x="8" y="66"/>
                      <a:pt x="8" y="57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61"/>
                      <a:pt x="16" y="65"/>
                      <a:pt x="23" y="65"/>
                    </a:cubicBezTo>
                    <a:cubicBezTo>
                      <a:pt x="25" y="65"/>
                      <a:pt x="26" y="64"/>
                      <a:pt x="28" y="64"/>
                    </a:cubicBezTo>
                    <a:lnTo>
                      <a:pt x="28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3509963" y="2351088"/>
                <a:ext cx="87313" cy="201612"/>
              </a:xfrm>
              <a:custGeom>
                <a:avLst/>
                <a:gdLst>
                  <a:gd name="T0" fmla="*/ 0 w 23"/>
                  <a:gd name="T1" fmla="*/ 54 h 54"/>
                  <a:gd name="T2" fmla="*/ 0 w 23"/>
                  <a:gd name="T3" fmla="*/ 1 h 54"/>
                  <a:gd name="T4" fmla="*/ 6 w 23"/>
                  <a:gd name="T5" fmla="*/ 1 h 54"/>
                  <a:gd name="T6" fmla="*/ 6 w 23"/>
                  <a:gd name="T7" fmla="*/ 12 h 54"/>
                  <a:gd name="T8" fmla="*/ 6 w 23"/>
                  <a:gd name="T9" fmla="*/ 12 h 54"/>
                  <a:gd name="T10" fmla="*/ 23 w 23"/>
                  <a:gd name="T11" fmla="*/ 0 h 54"/>
                  <a:gd name="T12" fmla="*/ 23 w 23"/>
                  <a:gd name="T13" fmla="*/ 6 h 54"/>
                  <a:gd name="T14" fmla="*/ 6 w 23"/>
                  <a:gd name="T15" fmla="*/ 32 h 54"/>
                  <a:gd name="T16" fmla="*/ 6 w 23"/>
                  <a:gd name="T17" fmla="*/ 54 h 54"/>
                  <a:gd name="T18" fmla="*/ 0 w 23"/>
                  <a:gd name="T1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9" y="4"/>
                      <a:pt x="15" y="0"/>
                      <a:pt x="23" y="0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9" y="6"/>
                      <a:pt x="6" y="22"/>
                      <a:pt x="6" y="32"/>
                    </a:cubicBezTo>
                    <a:cubicBezTo>
                      <a:pt x="6" y="54"/>
                      <a:pt x="6" y="54"/>
                      <a:pt x="6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" name="Freeform 9"/>
              <p:cNvSpPr>
                <a:spLocks noEditPoints="1"/>
              </p:cNvSpPr>
              <p:nvPr userDrawn="1"/>
            </p:nvSpPr>
            <p:spPr bwMode="auto">
              <a:xfrm>
                <a:off x="3616326" y="2351088"/>
                <a:ext cx="134938" cy="206375"/>
              </a:xfrm>
              <a:custGeom>
                <a:avLst/>
                <a:gdLst>
                  <a:gd name="T0" fmla="*/ 30 w 36"/>
                  <a:gd name="T1" fmla="*/ 54 h 55"/>
                  <a:gd name="T2" fmla="*/ 30 w 36"/>
                  <a:gd name="T3" fmla="*/ 46 h 55"/>
                  <a:gd name="T4" fmla="*/ 30 w 36"/>
                  <a:gd name="T5" fmla="*/ 46 h 55"/>
                  <a:gd name="T6" fmla="*/ 14 w 36"/>
                  <a:gd name="T7" fmla="*/ 55 h 55"/>
                  <a:gd name="T8" fmla="*/ 0 w 36"/>
                  <a:gd name="T9" fmla="*/ 41 h 55"/>
                  <a:gd name="T10" fmla="*/ 30 w 36"/>
                  <a:gd name="T11" fmla="*/ 24 h 55"/>
                  <a:gd name="T12" fmla="*/ 19 w 36"/>
                  <a:gd name="T13" fmla="*/ 5 h 55"/>
                  <a:gd name="T14" fmla="*/ 8 w 36"/>
                  <a:gd name="T15" fmla="*/ 14 h 55"/>
                  <a:gd name="T16" fmla="*/ 1 w 36"/>
                  <a:gd name="T17" fmla="*/ 14 h 55"/>
                  <a:gd name="T18" fmla="*/ 19 w 36"/>
                  <a:gd name="T19" fmla="*/ 0 h 55"/>
                  <a:gd name="T20" fmla="*/ 36 w 36"/>
                  <a:gd name="T21" fmla="*/ 18 h 55"/>
                  <a:gd name="T22" fmla="*/ 36 w 36"/>
                  <a:gd name="T23" fmla="*/ 54 h 55"/>
                  <a:gd name="T24" fmla="*/ 30 w 36"/>
                  <a:gd name="T25" fmla="*/ 54 h 55"/>
                  <a:gd name="T26" fmla="*/ 25 w 36"/>
                  <a:gd name="T27" fmla="*/ 29 h 55"/>
                  <a:gd name="T28" fmla="*/ 7 w 36"/>
                  <a:gd name="T29" fmla="*/ 41 h 55"/>
                  <a:gd name="T30" fmla="*/ 15 w 36"/>
                  <a:gd name="T31" fmla="*/ 48 h 55"/>
                  <a:gd name="T32" fmla="*/ 28 w 36"/>
                  <a:gd name="T33" fmla="*/ 41 h 55"/>
                  <a:gd name="T34" fmla="*/ 30 w 36"/>
                  <a:gd name="T35" fmla="*/ 29 h 55"/>
                  <a:gd name="T36" fmla="*/ 25 w 36"/>
                  <a:gd name="T37" fmla="*/ 2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6" h="55">
                    <a:moveTo>
                      <a:pt x="30" y="54"/>
                    </a:moveTo>
                    <a:cubicBezTo>
                      <a:pt x="30" y="46"/>
                      <a:pt x="30" y="46"/>
                      <a:pt x="30" y="46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26" y="52"/>
                      <a:pt x="21" y="55"/>
                      <a:pt x="14" y="55"/>
                    </a:cubicBezTo>
                    <a:cubicBezTo>
                      <a:pt x="5" y="55"/>
                      <a:pt x="0" y="49"/>
                      <a:pt x="0" y="41"/>
                    </a:cubicBezTo>
                    <a:cubicBezTo>
                      <a:pt x="0" y="26"/>
                      <a:pt x="19" y="24"/>
                      <a:pt x="30" y="24"/>
                    </a:cubicBezTo>
                    <a:cubicBezTo>
                      <a:pt x="30" y="15"/>
                      <a:pt x="31" y="5"/>
                      <a:pt x="19" y="5"/>
                    </a:cubicBezTo>
                    <a:cubicBezTo>
                      <a:pt x="13" y="5"/>
                      <a:pt x="9" y="7"/>
                      <a:pt x="8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4"/>
                      <a:pt x="11" y="0"/>
                      <a:pt x="19" y="0"/>
                    </a:cubicBezTo>
                    <a:cubicBezTo>
                      <a:pt x="32" y="0"/>
                      <a:pt x="36" y="6"/>
                      <a:pt x="36" y="18"/>
                    </a:cubicBezTo>
                    <a:cubicBezTo>
                      <a:pt x="36" y="54"/>
                      <a:pt x="36" y="54"/>
                      <a:pt x="36" y="54"/>
                    </a:cubicBezTo>
                    <a:lnTo>
                      <a:pt x="30" y="54"/>
                    </a:lnTo>
                    <a:close/>
                    <a:moveTo>
                      <a:pt x="25" y="29"/>
                    </a:moveTo>
                    <a:cubicBezTo>
                      <a:pt x="17" y="29"/>
                      <a:pt x="7" y="32"/>
                      <a:pt x="7" y="41"/>
                    </a:cubicBezTo>
                    <a:cubicBezTo>
                      <a:pt x="7" y="45"/>
                      <a:pt x="11" y="48"/>
                      <a:pt x="15" y="48"/>
                    </a:cubicBezTo>
                    <a:cubicBezTo>
                      <a:pt x="20" y="48"/>
                      <a:pt x="25" y="45"/>
                      <a:pt x="28" y="41"/>
                    </a:cubicBezTo>
                    <a:cubicBezTo>
                      <a:pt x="30" y="37"/>
                      <a:pt x="30" y="34"/>
                      <a:pt x="30" y="29"/>
                    </a:cubicBez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" name="Freeform 10"/>
              <p:cNvSpPr>
                <a:spLocks/>
              </p:cNvSpPr>
              <p:nvPr userDrawn="1"/>
            </p:nvSpPr>
            <p:spPr bwMode="auto">
              <a:xfrm>
                <a:off x="3784601" y="2293938"/>
                <a:ext cx="104775" cy="263525"/>
              </a:xfrm>
              <a:custGeom>
                <a:avLst/>
                <a:gdLst>
                  <a:gd name="T0" fmla="*/ 28 w 28"/>
                  <a:gd name="T1" fmla="*/ 69 h 70"/>
                  <a:gd name="T2" fmla="*/ 22 w 28"/>
                  <a:gd name="T3" fmla="*/ 70 h 70"/>
                  <a:gd name="T4" fmla="*/ 8 w 28"/>
                  <a:gd name="T5" fmla="*/ 57 h 70"/>
                  <a:gd name="T6" fmla="*/ 8 w 28"/>
                  <a:gd name="T7" fmla="*/ 21 h 70"/>
                  <a:gd name="T8" fmla="*/ 0 w 28"/>
                  <a:gd name="T9" fmla="*/ 21 h 70"/>
                  <a:gd name="T10" fmla="*/ 0 w 28"/>
                  <a:gd name="T11" fmla="*/ 16 h 70"/>
                  <a:gd name="T12" fmla="*/ 8 w 28"/>
                  <a:gd name="T13" fmla="*/ 16 h 70"/>
                  <a:gd name="T14" fmla="*/ 8 w 28"/>
                  <a:gd name="T15" fmla="*/ 4 h 70"/>
                  <a:gd name="T16" fmla="*/ 14 w 28"/>
                  <a:gd name="T17" fmla="*/ 0 h 70"/>
                  <a:gd name="T18" fmla="*/ 14 w 28"/>
                  <a:gd name="T19" fmla="*/ 16 h 70"/>
                  <a:gd name="T20" fmla="*/ 28 w 28"/>
                  <a:gd name="T21" fmla="*/ 16 h 70"/>
                  <a:gd name="T22" fmla="*/ 28 w 28"/>
                  <a:gd name="T23" fmla="*/ 21 h 70"/>
                  <a:gd name="T24" fmla="*/ 14 w 28"/>
                  <a:gd name="T25" fmla="*/ 21 h 70"/>
                  <a:gd name="T26" fmla="*/ 14 w 28"/>
                  <a:gd name="T27" fmla="*/ 55 h 70"/>
                  <a:gd name="T28" fmla="*/ 22 w 28"/>
                  <a:gd name="T29" fmla="*/ 65 h 70"/>
                  <a:gd name="T30" fmla="*/ 28 w 28"/>
                  <a:gd name="T31" fmla="*/ 64 h 70"/>
                  <a:gd name="T32" fmla="*/ 28 w 28"/>
                  <a:gd name="T33" fmla="*/ 6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70">
                    <a:moveTo>
                      <a:pt x="28" y="69"/>
                    </a:moveTo>
                    <a:cubicBezTo>
                      <a:pt x="26" y="70"/>
                      <a:pt x="24" y="70"/>
                      <a:pt x="22" y="70"/>
                    </a:cubicBezTo>
                    <a:cubicBezTo>
                      <a:pt x="13" y="70"/>
                      <a:pt x="8" y="66"/>
                      <a:pt x="8" y="57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61"/>
                      <a:pt x="16" y="65"/>
                      <a:pt x="22" y="65"/>
                    </a:cubicBezTo>
                    <a:cubicBezTo>
                      <a:pt x="25" y="65"/>
                      <a:pt x="26" y="64"/>
                      <a:pt x="28" y="64"/>
                    </a:cubicBezTo>
                    <a:lnTo>
                      <a:pt x="28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" name="Freeform 11"/>
              <p:cNvSpPr>
                <a:spLocks noEditPoints="1"/>
              </p:cNvSpPr>
              <p:nvPr userDrawn="1"/>
            </p:nvSpPr>
            <p:spPr bwMode="auto">
              <a:xfrm>
                <a:off x="3908426" y="2351088"/>
                <a:ext cx="142875" cy="206375"/>
              </a:xfrm>
              <a:custGeom>
                <a:avLst/>
                <a:gdLst>
                  <a:gd name="T0" fmla="*/ 36 w 38"/>
                  <a:gd name="T1" fmla="*/ 54 h 55"/>
                  <a:gd name="T2" fmla="*/ 25 w 38"/>
                  <a:gd name="T3" fmla="*/ 55 h 55"/>
                  <a:gd name="T4" fmla="*/ 0 w 38"/>
                  <a:gd name="T5" fmla="*/ 26 h 55"/>
                  <a:gd name="T6" fmla="*/ 20 w 38"/>
                  <a:gd name="T7" fmla="*/ 0 h 55"/>
                  <a:gd name="T8" fmla="*/ 38 w 38"/>
                  <a:gd name="T9" fmla="*/ 19 h 55"/>
                  <a:gd name="T10" fmla="*/ 38 w 38"/>
                  <a:gd name="T11" fmla="*/ 21 h 55"/>
                  <a:gd name="T12" fmla="*/ 7 w 38"/>
                  <a:gd name="T13" fmla="*/ 21 h 55"/>
                  <a:gd name="T14" fmla="*/ 7 w 38"/>
                  <a:gd name="T15" fmla="*/ 27 h 55"/>
                  <a:gd name="T16" fmla="*/ 27 w 38"/>
                  <a:gd name="T17" fmla="*/ 50 h 55"/>
                  <a:gd name="T18" fmla="*/ 36 w 38"/>
                  <a:gd name="T19" fmla="*/ 48 h 55"/>
                  <a:gd name="T20" fmla="*/ 36 w 38"/>
                  <a:gd name="T21" fmla="*/ 54 h 55"/>
                  <a:gd name="T22" fmla="*/ 31 w 38"/>
                  <a:gd name="T23" fmla="*/ 16 h 55"/>
                  <a:gd name="T24" fmla="*/ 20 w 38"/>
                  <a:gd name="T25" fmla="*/ 5 h 55"/>
                  <a:gd name="T26" fmla="*/ 7 w 38"/>
                  <a:gd name="T27" fmla="*/ 16 h 55"/>
                  <a:gd name="T28" fmla="*/ 31 w 38"/>
                  <a:gd name="T29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55">
                    <a:moveTo>
                      <a:pt x="36" y="54"/>
                    </a:moveTo>
                    <a:cubicBezTo>
                      <a:pt x="33" y="54"/>
                      <a:pt x="29" y="55"/>
                      <a:pt x="25" y="55"/>
                    </a:cubicBezTo>
                    <a:cubicBezTo>
                      <a:pt x="7" y="55"/>
                      <a:pt x="0" y="42"/>
                      <a:pt x="0" y="26"/>
                    </a:cubicBezTo>
                    <a:cubicBezTo>
                      <a:pt x="0" y="12"/>
                      <a:pt x="4" y="0"/>
                      <a:pt x="20" y="0"/>
                    </a:cubicBezTo>
                    <a:cubicBezTo>
                      <a:pt x="31" y="0"/>
                      <a:pt x="38" y="8"/>
                      <a:pt x="38" y="19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7" y="25"/>
                      <a:pt x="7" y="27"/>
                    </a:cubicBezTo>
                    <a:cubicBezTo>
                      <a:pt x="7" y="40"/>
                      <a:pt x="12" y="50"/>
                      <a:pt x="27" y="50"/>
                    </a:cubicBezTo>
                    <a:cubicBezTo>
                      <a:pt x="30" y="50"/>
                      <a:pt x="33" y="49"/>
                      <a:pt x="36" y="48"/>
                    </a:cubicBezTo>
                    <a:lnTo>
                      <a:pt x="36" y="54"/>
                    </a:lnTo>
                    <a:close/>
                    <a:moveTo>
                      <a:pt x="31" y="16"/>
                    </a:moveTo>
                    <a:cubicBezTo>
                      <a:pt x="31" y="10"/>
                      <a:pt x="26" y="5"/>
                      <a:pt x="20" y="5"/>
                    </a:cubicBezTo>
                    <a:cubicBezTo>
                      <a:pt x="13" y="5"/>
                      <a:pt x="9" y="9"/>
                      <a:pt x="7" y="16"/>
                    </a:cubicBezTo>
                    <a:lnTo>
                      <a:pt x="31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" name="Freeform 12"/>
              <p:cNvSpPr>
                <a:spLocks noEditPoints="1"/>
              </p:cNvSpPr>
              <p:nvPr userDrawn="1"/>
            </p:nvSpPr>
            <p:spPr bwMode="auto">
              <a:xfrm>
                <a:off x="4076701" y="2351088"/>
                <a:ext cx="146050" cy="284162"/>
              </a:xfrm>
              <a:custGeom>
                <a:avLst/>
                <a:gdLst>
                  <a:gd name="T0" fmla="*/ 33 w 39"/>
                  <a:gd name="T1" fmla="*/ 43 h 76"/>
                  <a:gd name="T2" fmla="*/ 33 w 39"/>
                  <a:gd name="T3" fmla="*/ 43 h 76"/>
                  <a:gd name="T4" fmla="*/ 19 w 39"/>
                  <a:gd name="T5" fmla="*/ 54 h 76"/>
                  <a:gd name="T6" fmla="*/ 0 w 39"/>
                  <a:gd name="T7" fmla="*/ 27 h 76"/>
                  <a:gd name="T8" fmla="*/ 19 w 39"/>
                  <a:gd name="T9" fmla="*/ 0 h 76"/>
                  <a:gd name="T10" fmla="*/ 33 w 39"/>
                  <a:gd name="T11" fmla="*/ 11 h 76"/>
                  <a:gd name="T12" fmla="*/ 33 w 39"/>
                  <a:gd name="T13" fmla="*/ 11 h 76"/>
                  <a:gd name="T14" fmla="*/ 33 w 39"/>
                  <a:gd name="T15" fmla="*/ 1 h 76"/>
                  <a:gd name="T16" fmla="*/ 39 w 39"/>
                  <a:gd name="T17" fmla="*/ 1 h 76"/>
                  <a:gd name="T18" fmla="*/ 39 w 39"/>
                  <a:gd name="T19" fmla="*/ 52 h 76"/>
                  <a:gd name="T20" fmla="*/ 17 w 39"/>
                  <a:gd name="T21" fmla="*/ 76 h 76"/>
                  <a:gd name="T22" fmla="*/ 3 w 39"/>
                  <a:gd name="T23" fmla="*/ 74 h 76"/>
                  <a:gd name="T24" fmla="*/ 3 w 39"/>
                  <a:gd name="T25" fmla="*/ 68 h 76"/>
                  <a:gd name="T26" fmla="*/ 15 w 39"/>
                  <a:gd name="T27" fmla="*/ 70 h 76"/>
                  <a:gd name="T28" fmla="*/ 33 w 39"/>
                  <a:gd name="T29" fmla="*/ 53 h 76"/>
                  <a:gd name="T30" fmla="*/ 33 w 39"/>
                  <a:gd name="T31" fmla="*/ 43 h 76"/>
                  <a:gd name="T32" fmla="*/ 33 w 39"/>
                  <a:gd name="T33" fmla="*/ 27 h 76"/>
                  <a:gd name="T34" fmla="*/ 19 w 39"/>
                  <a:gd name="T35" fmla="*/ 5 h 76"/>
                  <a:gd name="T36" fmla="*/ 7 w 39"/>
                  <a:gd name="T37" fmla="*/ 28 h 76"/>
                  <a:gd name="T38" fmla="*/ 19 w 39"/>
                  <a:gd name="T39" fmla="*/ 48 h 76"/>
                  <a:gd name="T40" fmla="*/ 33 w 39"/>
                  <a:gd name="T41" fmla="*/ 2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9" h="76">
                    <a:moveTo>
                      <a:pt x="33" y="43"/>
                    </a:move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49"/>
                      <a:pt x="26" y="54"/>
                      <a:pt x="19" y="54"/>
                    </a:cubicBezTo>
                    <a:cubicBezTo>
                      <a:pt x="3" y="54"/>
                      <a:pt x="0" y="40"/>
                      <a:pt x="0" y="27"/>
                    </a:cubicBezTo>
                    <a:cubicBezTo>
                      <a:pt x="0" y="16"/>
                      <a:pt x="4" y="0"/>
                      <a:pt x="19" y="0"/>
                    </a:cubicBezTo>
                    <a:cubicBezTo>
                      <a:pt x="26" y="0"/>
                      <a:pt x="31" y="4"/>
                      <a:pt x="33" y="1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39" y="67"/>
                      <a:pt x="32" y="76"/>
                      <a:pt x="17" y="76"/>
                    </a:cubicBezTo>
                    <a:cubicBezTo>
                      <a:pt x="12" y="76"/>
                      <a:pt x="8" y="75"/>
                      <a:pt x="3" y="74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7" y="70"/>
                      <a:pt x="11" y="70"/>
                      <a:pt x="15" y="70"/>
                    </a:cubicBezTo>
                    <a:cubicBezTo>
                      <a:pt x="28" y="70"/>
                      <a:pt x="33" y="66"/>
                      <a:pt x="33" y="53"/>
                    </a:cubicBezTo>
                    <a:lnTo>
                      <a:pt x="33" y="43"/>
                    </a:lnTo>
                    <a:close/>
                    <a:moveTo>
                      <a:pt x="33" y="27"/>
                    </a:moveTo>
                    <a:cubicBezTo>
                      <a:pt x="33" y="18"/>
                      <a:pt x="29" y="5"/>
                      <a:pt x="19" y="5"/>
                    </a:cubicBezTo>
                    <a:cubicBezTo>
                      <a:pt x="9" y="5"/>
                      <a:pt x="7" y="21"/>
                      <a:pt x="7" y="28"/>
                    </a:cubicBezTo>
                    <a:cubicBezTo>
                      <a:pt x="7" y="36"/>
                      <a:pt x="8" y="48"/>
                      <a:pt x="19" y="48"/>
                    </a:cubicBezTo>
                    <a:cubicBezTo>
                      <a:pt x="29" y="48"/>
                      <a:pt x="33" y="35"/>
                      <a:pt x="33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" name="Freeform 13"/>
              <p:cNvSpPr>
                <a:spLocks/>
              </p:cNvSpPr>
              <p:nvPr userDrawn="1"/>
            </p:nvSpPr>
            <p:spPr bwMode="auto">
              <a:xfrm>
                <a:off x="4252913" y="2354263"/>
                <a:ext cx="168275" cy="274637"/>
              </a:xfrm>
              <a:custGeom>
                <a:avLst/>
                <a:gdLst>
                  <a:gd name="T0" fmla="*/ 31 w 106"/>
                  <a:gd name="T1" fmla="*/ 173 h 173"/>
                  <a:gd name="T2" fmla="*/ 50 w 106"/>
                  <a:gd name="T3" fmla="*/ 123 h 173"/>
                  <a:gd name="T4" fmla="*/ 0 w 106"/>
                  <a:gd name="T5" fmla="*/ 0 h 173"/>
                  <a:gd name="T6" fmla="*/ 14 w 106"/>
                  <a:gd name="T7" fmla="*/ 0 h 173"/>
                  <a:gd name="T8" fmla="*/ 54 w 106"/>
                  <a:gd name="T9" fmla="*/ 104 h 173"/>
                  <a:gd name="T10" fmla="*/ 92 w 106"/>
                  <a:gd name="T11" fmla="*/ 0 h 173"/>
                  <a:gd name="T12" fmla="*/ 106 w 106"/>
                  <a:gd name="T13" fmla="*/ 0 h 173"/>
                  <a:gd name="T14" fmla="*/ 47 w 106"/>
                  <a:gd name="T15" fmla="*/ 173 h 173"/>
                  <a:gd name="T16" fmla="*/ 31 w 106"/>
                  <a:gd name="T17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173">
                    <a:moveTo>
                      <a:pt x="31" y="173"/>
                    </a:moveTo>
                    <a:lnTo>
                      <a:pt x="50" y="123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54" y="104"/>
                    </a:lnTo>
                    <a:lnTo>
                      <a:pt x="92" y="0"/>
                    </a:lnTo>
                    <a:lnTo>
                      <a:pt x="106" y="0"/>
                    </a:lnTo>
                    <a:lnTo>
                      <a:pt x="47" y="173"/>
                    </a:lnTo>
                    <a:lnTo>
                      <a:pt x="31" y="1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AU" sz="135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1681163" y="2290763"/>
              <a:ext cx="1514475" cy="266700"/>
            </a:xfrm>
            <a:custGeom>
              <a:avLst/>
              <a:gdLst>
                <a:gd name="T0" fmla="*/ 18 w 404"/>
                <a:gd name="T1" fmla="*/ 62 h 71"/>
                <a:gd name="T2" fmla="*/ 29 w 404"/>
                <a:gd name="T3" fmla="*/ 46 h 71"/>
                <a:gd name="T4" fmla="*/ 41 w 404"/>
                <a:gd name="T5" fmla="*/ 32 h 71"/>
                <a:gd name="T6" fmla="*/ 2 w 404"/>
                <a:gd name="T7" fmla="*/ 33 h 71"/>
                <a:gd name="T8" fmla="*/ 22 w 404"/>
                <a:gd name="T9" fmla="*/ 24 h 71"/>
                <a:gd name="T10" fmla="*/ 29 w 404"/>
                <a:gd name="T11" fmla="*/ 39 h 71"/>
                <a:gd name="T12" fmla="*/ 15 w 404"/>
                <a:gd name="T13" fmla="*/ 71 h 71"/>
                <a:gd name="T14" fmla="*/ 29 w 404"/>
                <a:gd name="T15" fmla="*/ 64 h 71"/>
                <a:gd name="T16" fmla="*/ 41 w 404"/>
                <a:gd name="T17" fmla="*/ 70 h 71"/>
                <a:gd name="T18" fmla="*/ 90 w 404"/>
                <a:gd name="T19" fmla="*/ 35 h 71"/>
                <a:gd name="T20" fmla="*/ 46 w 404"/>
                <a:gd name="T21" fmla="*/ 41 h 71"/>
                <a:gd name="T22" fmla="*/ 90 w 404"/>
                <a:gd name="T23" fmla="*/ 68 h 71"/>
                <a:gd name="T24" fmla="*/ 81 w 404"/>
                <a:gd name="T25" fmla="*/ 62 h 71"/>
                <a:gd name="T26" fmla="*/ 69 w 404"/>
                <a:gd name="T27" fmla="*/ 24 h 71"/>
                <a:gd name="T28" fmla="*/ 125 w 404"/>
                <a:gd name="T29" fmla="*/ 35 h 71"/>
                <a:gd name="T30" fmla="*/ 118 w 404"/>
                <a:gd name="T31" fmla="*/ 16 h 71"/>
                <a:gd name="T32" fmla="*/ 122 w 404"/>
                <a:gd name="T33" fmla="*/ 71 h 71"/>
                <a:gd name="T34" fmla="*/ 137 w 404"/>
                <a:gd name="T35" fmla="*/ 61 h 71"/>
                <a:gd name="T36" fmla="*/ 107 w 404"/>
                <a:gd name="T37" fmla="*/ 39 h 71"/>
                <a:gd name="T38" fmla="*/ 125 w 404"/>
                <a:gd name="T39" fmla="*/ 35 h 71"/>
                <a:gd name="T40" fmla="*/ 153 w 404"/>
                <a:gd name="T41" fmla="*/ 33 h 71"/>
                <a:gd name="T42" fmla="*/ 173 w 404"/>
                <a:gd name="T43" fmla="*/ 33 h 71"/>
                <a:gd name="T44" fmla="*/ 184 w 404"/>
                <a:gd name="T45" fmla="*/ 37 h 71"/>
                <a:gd name="T46" fmla="*/ 142 w 404"/>
                <a:gd name="T47" fmla="*/ 41 h 71"/>
                <a:gd name="T48" fmla="*/ 183 w 404"/>
                <a:gd name="T49" fmla="*/ 69 h 71"/>
                <a:gd name="T50" fmla="*/ 173 w 404"/>
                <a:gd name="T51" fmla="*/ 62 h 71"/>
                <a:gd name="T52" fmla="*/ 184 w 404"/>
                <a:gd name="T53" fmla="*/ 40 h 71"/>
                <a:gd name="T54" fmla="*/ 233 w 404"/>
                <a:gd name="T55" fmla="*/ 70 h 71"/>
                <a:gd name="T56" fmla="*/ 219 w 404"/>
                <a:gd name="T57" fmla="*/ 16 h 71"/>
                <a:gd name="T58" fmla="*/ 203 w 404"/>
                <a:gd name="T59" fmla="*/ 27 h 71"/>
                <a:gd name="T60" fmla="*/ 191 w 404"/>
                <a:gd name="T61" fmla="*/ 17 h 71"/>
                <a:gd name="T62" fmla="*/ 203 w 404"/>
                <a:gd name="T63" fmla="*/ 70 h 71"/>
                <a:gd name="T64" fmla="*/ 215 w 404"/>
                <a:gd name="T65" fmla="*/ 27 h 71"/>
                <a:gd name="T66" fmla="*/ 221 w 404"/>
                <a:gd name="T67" fmla="*/ 40 h 71"/>
                <a:gd name="T68" fmla="*/ 258 w 404"/>
                <a:gd name="T69" fmla="*/ 26 h 71"/>
                <a:gd name="T70" fmla="*/ 274 w 404"/>
                <a:gd name="T71" fmla="*/ 17 h 71"/>
                <a:gd name="T72" fmla="*/ 258 w 404"/>
                <a:gd name="T73" fmla="*/ 0 h 71"/>
                <a:gd name="T74" fmla="*/ 246 w 404"/>
                <a:gd name="T75" fmla="*/ 17 h 71"/>
                <a:gd name="T76" fmla="*/ 236 w 404"/>
                <a:gd name="T77" fmla="*/ 26 h 71"/>
                <a:gd name="T78" fmla="*/ 246 w 404"/>
                <a:gd name="T79" fmla="*/ 56 h 71"/>
                <a:gd name="T80" fmla="*/ 272 w 404"/>
                <a:gd name="T81" fmla="*/ 70 h 71"/>
                <a:gd name="T82" fmla="*/ 267 w 404"/>
                <a:gd name="T83" fmla="*/ 62 h 71"/>
                <a:gd name="T84" fmla="*/ 258 w 404"/>
                <a:gd name="T85" fmla="*/ 26 h 71"/>
                <a:gd name="T86" fmla="*/ 322 w 404"/>
                <a:gd name="T87" fmla="*/ 70 h 71"/>
                <a:gd name="T88" fmla="*/ 310 w 404"/>
                <a:gd name="T89" fmla="*/ 17 h 71"/>
                <a:gd name="T90" fmla="*/ 297 w 404"/>
                <a:gd name="T91" fmla="*/ 59 h 71"/>
                <a:gd name="T92" fmla="*/ 292 w 404"/>
                <a:gd name="T93" fmla="*/ 47 h 71"/>
                <a:gd name="T94" fmla="*/ 280 w 404"/>
                <a:gd name="T95" fmla="*/ 17 h 71"/>
                <a:gd name="T96" fmla="*/ 294 w 404"/>
                <a:gd name="T97" fmla="*/ 71 h 71"/>
                <a:gd name="T98" fmla="*/ 310 w 404"/>
                <a:gd name="T99" fmla="*/ 60 h 71"/>
                <a:gd name="T100" fmla="*/ 342 w 404"/>
                <a:gd name="T101" fmla="*/ 47 h 71"/>
                <a:gd name="T102" fmla="*/ 359 w 404"/>
                <a:gd name="T103" fmla="*/ 16 h 71"/>
                <a:gd name="T104" fmla="*/ 342 w 404"/>
                <a:gd name="T105" fmla="*/ 27 h 71"/>
                <a:gd name="T106" fmla="*/ 330 w 404"/>
                <a:gd name="T107" fmla="*/ 17 h 71"/>
                <a:gd name="T108" fmla="*/ 342 w 404"/>
                <a:gd name="T109" fmla="*/ 70 h 71"/>
                <a:gd name="T110" fmla="*/ 393 w 404"/>
                <a:gd name="T111" fmla="*/ 33 h 71"/>
                <a:gd name="T112" fmla="*/ 383 w 404"/>
                <a:gd name="T113" fmla="*/ 24 h 71"/>
                <a:gd name="T114" fmla="*/ 404 w 404"/>
                <a:gd name="T115" fmla="*/ 40 h 71"/>
                <a:gd name="T116" fmla="*/ 384 w 404"/>
                <a:gd name="T117" fmla="*/ 16 h 71"/>
                <a:gd name="T118" fmla="*/ 388 w 404"/>
                <a:gd name="T119" fmla="*/ 71 h 71"/>
                <a:gd name="T120" fmla="*/ 403 w 404"/>
                <a:gd name="T121" fmla="*/ 60 h 71"/>
                <a:gd name="T122" fmla="*/ 373 w 404"/>
                <a:gd name="T123" fmla="*/ 4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4" h="71">
                  <a:moveTo>
                    <a:pt x="29" y="46"/>
                  </a:moveTo>
                  <a:cubicBezTo>
                    <a:pt x="29" y="53"/>
                    <a:pt x="26" y="62"/>
                    <a:pt x="18" y="62"/>
                  </a:cubicBezTo>
                  <a:cubicBezTo>
                    <a:pt x="14" y="62"/>
                    <a:pt x="12" y="60"/>
                    <a:pt x="12" y="56"/>
                  </a:cubicBezTo>
                  <a:cubicBezTo>
                    <a:pt x="12" y="48"/>
                    <a:pt x="23" y="46"/>
                    <a:pt x="29" y="46"/>
                  </a:cubicBezTo>
                  <a:moveTo>
                    <a:pt x="41" y="70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20"/>
                    <a:pt x="33" y="16"/>
                    <a:pt x="22" y="16"/>
                  </a:cubicBezTo>
                  <a:cubicBezTo>
                    <a:pt x="11" y="16"/>
                    <a:pt x="2" y="20"/>
                    <a:pt x="2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27"/>
                    <a:pt x="17" y="24"/>
                    <a:pt x="22" y="24"/>
                  </a:cubicBezTo>
                  <a:cubicBezTo>
                    <a:pt x="28" y="24"/>
                    <a:pt x="29" y="29"/>
                    <a:pt x="29" y="34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17" y="40"/>
                    <a:pt x="0" y="41"/>
                    <a:pt x="0" y="57"/>
                  </a:cubicBezTo>
                  <a:cubicBezTo>
                    <a:pt x="0" y="66"/>
                    <a:pt x="7" y="71"/>
                    <a:pt x="15" y="71"/>
                  </a:cubicBezTo>
                  <a:cubicBezTo>
                    <a:pt x="21" y="71"/>
                    <a:pt x="26" y="69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41" y="70"/>
                    <a:pt x="41" y="70"/>
                    <a:pt x="41" y="70"/>
                  </a:cubicBezTo>
                  <a:moveTo>
                    <a:pt x="77" y="35"/>
                  </a:moveTo>
                  <a:cubicBezTo>
                    <a:pt x="90" y="35"/>
                    <a:pt x="90" y="35"/>
                    <a:pt x="90" y="35"/>
                  </a:cubicBezTo>
                  <a:cubicBezTo>
                    <a:pt x="90" y="22"/>
                    <a:pt x="83" y="16"/>
                    <a:pt x="70" y="16"/>
                  </a:cubicBezTo>
                  <a:cubicBezTo>
                    <a:pt x="55" y="16"/>
                    <a:pt x="46" y="26"/>
                    <a:pt x="46" y="41"/>
                  </a:cubicBezTo>
                  <a:cubicBezTo>
                    <a:pt x="46" y="59"/>
                    <a:pt x="56" y="71"/>
                    <a:pt x="75" y="71"/>
                  </a:cubicBezTo>
                  <a:cubicBezTo>
                    <a:pt x="80" y="71"/>
                    <a:pt x="85" y="70"/>
                    <a:pt x="90" y="6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87" y="62"/>
                    <a:pt x="84" y="62"/>
                    <a:pt x="81" y="62"/>
                  </a:cubicBezTo>
                  <a:cubicBezTo>
                    <a:pt x="67" y="62"/>
                    <a:pt x="59" y="52"/>
                    <a:pt x="59" y="39"/>
                  </a:cubicBezTo>
                  <a:cubicBezTo>
                    <a:pt x="59" y="33"/>
                    <a:pt x="62" y="24"/>
                    <a:pt x="69" y="24"/>
                  </a:cubicBezTo>
                  <a:cubicBezTo>
                    <a:pt x="76" y="24"/>
                    <a:pt x="77" y="30"/>
                    <a:pt x="77" y="35"/>
                  </a:cubicBezTo>
                  <a:moveTo>
                    <a:pt x="125" y="35"/>
                  </a:moveTo>
                  <a:cubicBezTo>
                    <a:pt x="138" y="35"/>
                    <a:pt x="138" y="35"/>
                    <a:pt x="138" y="35"/>
                  </a:cubicBezTo>
                  <a:cubicBezTo>
                    <a:pt x="138" y="22"/>
                    <a:pt x="130" y="16"/>
                    <a:pt x="118" y="16"/>
                  </a:cubicBezTo>
                  <a:cubicBezTo>
                    <a:pt x="102" y="16"/>
                    <a:pt x="93" y="26"/>
                    <a:pt x="93" y="41"/>
                  </a:cubicBezTo>
                  <a:cubicBezTo>
                    <a:pt x="93" y="59"/>
                    <a:pt x="103" y="71"/>
                    <a:pt x="122" y="71"/>
                  </a:cubicBezTo>
                  <a:cubicBezTo>
                    <a:pt x="127" y="71"/>
                    <a:pt x="132" y="70"/>
                    <a:pt x="137" y="68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4" y="62"/>
                    <a:pt x="131" y="62"/>
                    <a:pt x="128" y="62"/>
                  </a:cubicBezTo>
                  <a:cubicBezTo>
                    <a:pt x="114" y="62"/>
                    <a:pt x="107" y="52"/>
                    <a:pt x="107" y="39"/>
                  </a:cubicBezTo>
                  <a:cubicBezTo>
                    <a:pt x="107" y="33"/>
                    <a:pt x="109" y="24"/>
                    <a:pt x="117" y="24"/>
                  </a:cubicBezTo>
                  <a:cubicBezTo>
                    <a:pt x="123" y="24"/>
                    <a:pt x="125" y="30"/>
                    <a:pt x="125" y="35"/>
                  </a:cubicBezTo>
                  <a:moveTo>
                    <a:pt x="173" y="33"/>
                  </a:moveTo>
                  <a:cubicBezTo>
                    <a:pt x="153" y="33"/>
                    <a:pt x="153" y="33"/>
                    <a:pt x="153" y="33"/>
                  </a:cubicBezTo>
                  <a:cubicBezTo>
                    <a:pt x="154" y="27"/>
                    <a:pt x="158" y="24"/>
                    <a:pt x="163" y="24"/>
                  </a:cubicBezTo>
                  <a:cubicBezTo>
                    <a:pt x="169" y="24"/>
                    <a:pt x="173" y="27"/>
                    <a:pt x="173" y="33"/>
                  </a:cubicBezTo>
                  <a:moveTo>
                    <a:pt x="184" y="40"/>
                  </a:moveTo>
                  <a:cubicBezTo>
                    <a:pt x="184" y="37"/>
                    <a:pt x="184" y="37"/>
                    <a:pt x="184" y="37"/>
                  </a:cubicBezTo>
                  <a:cubicBezTo>
                    <a:pt x="184" y="24"/>
                    <a:pt x="178" y="16"/>
                    <a:pt x="164" y="16"/>
                  </a:cubicBezTo>
                  <a:cubicBezTo>
                    <a:pt x="149" y="16"/>
                    <a:pt x="142" y="26"/>
                    <a:pt x="142" y="41"/>
                  </a:cubicBezTo>
                  <a:cubicBezTo>
                    <a:pt x="142" y="58"/>
                    <a:pt x="150" y="71"/>
                    <a:pt x="168" y="71"/>
                  </a:cubicBezTo>
                  <a:cubicBezTo>
                    <a:pt x="173" y="71"/>
                    <a:pt x="178" y="70"/>
                    <a:pt x="183" y="69"/>
                  </a:cubicBezTo>
                  <a:cubicBezTo>
                    <a:pt x="183" y="60"/>
                    <a:pt x="183" y="60"/>
                    <a:pt x="183" y="60"/>
                  </a:cubicBezTo>
                  <a:cubicBezTo>
                    <a:pt x="180" y="61"/>
                    <a:pt x="176" y="62"/>
                    <a:pt x="173" y="62"/>
                  </a:cubicBezTo>
                  <a:cubicBezTo>
                    <a:pt x="161" y="62"/>
                    <a:pt x="153" y="51"/>
                    <a:pt x="153" y="40"/>
                  </a:cubicBezTo>
                  <a:cubicBezTo>
                    <a:pt x="184" y="40"/>
                    <a:pt x="184" y="40"/>
                    <a:pt x="184" y="40"/>
                  </a:cubicBezTo>
                  <a:moveTo>
                    <a:pt x="221" y="70"/>
                  </a:moveTo>
                  <a:cubicBezTo>
                    <a:pt x="233" y="70"/>
                    <a:pt x="233" y="70"/>
                    <a:pt x="233" y="70"/>
                  </a:cubicBezTo>
                  <a:cubicBezTo>
                    <a:pt x="233" y="33"/>
                    <a:pt x="233" y="33"/>
                    <a:pt x="233" y="33"/>
                  </a:cubicBezTo>
                  <a:cubicBezTo>
                    <a:pt x="233" y="24"/>
                    <a:pt x="229" y="16"/>
                    <a:pt x="219" y="16"/>
                  </a:cubicBezTo>
                  <a:cubicBezTo>
                    <a:pt x="211" y="16"/>
                    <a:pt x="206" y="20"/>
                    <a:pt x="203" y="27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203" y="70"/>
                    <a:pt x="203" y="70"/>
                    <a:pt x="203" y="70"/>
                  </a:cubicBezTo>
                  <a:cubicBezTo>
                    <a:pt x="203" y="47"/>
                    <a:pt x="203" y="47"/>
                    <a:pt x="203" y="47"/>
                  </a:cubicBezTo>
                  <a:cubicBezTo>
                    <a:pt x="203" y="40"/>
                    <a:pt x="206" y="27"/>
                    <a:pt x="215" y="27"/>
                  </a:cubicBezTo>
                  <a:cubicBezTo>
                    <a:pt x="217" y="27"/>
                    <a:pt x="218" y="27"/>
                    <a:pt x="219" y="28"/>
                  </a:cubicBezTo>
                  <a:cubicBezTo>
                    <a:pt x="221" y="30"/>
                    <a:pt x="221" y="37"/>
                    <a:pt x="221" y="40"/>
                  </a:cubicBezTo>
                  <a:cubicBezTo>
                    <a:pt x="221" y="70"/>
                    <a:pt x="221" y="70"/>
                    <a:pt x="221" y="70"/>
                  </a:cubicBezTo>
                  <a:moveTo>
                    <a:pt x="258" y="26"/>
                  </a:moveTo>
                  <a:cubicBezTo>
                    <a:pt x="274" y="26"/>
                    <a:pt x="274" y="26"/>
                    <a:pt x="274" y="26"/>
                  </a:cubicBezTo>
                  <a:cubicBezTo>
                    <a:pt x="274" y="17"/>
                    <a:pt x="274" y="17"/>
                    <a:pt x="274" y="17"/>
                  </a:cubicBezTo>
                  <a:cubicBezTo>
                    <a:pt x="258" y="17"/>
                    <a:pt x="258" y="17"/>
                    <a:pt x="258" y="17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36" y="17"/>
                    <a:pt x="236" y="17"/>
                    <a:pt x="236" y="17"/>
                  </a:cubicBezTo>
                  <a:cubicBezTo>
                    <a:pt x="236" y="26"/>
                    <a:pt x="236" y="26"/>
                    <a:pt x="236" y="26"/>
                  </a:cubicBezTo>
                  <a:cubicBezTo>
                    <a:pt x="246" y="26"/>
                    <a:pt x="246" y="26"/>
                    <a:pt x="246" y="2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67"/>
                    <a:pt x="252" y="71"/>
                    <a:pt x="262" y="71"/>
                  </a:cubicBezTo>
                  <a:cubicBezTo>
                    <a:pt x="266" y="71"/>
                    <a:pt x="269" y="71"/>
                    <a:pt x="272" y="70"/>
                  </a:cubicBezTo>
                  <a:cubicBezTo>
                    <a:pt x="272" y="61"/>
                    <a:pt x="272" y="61"/>
                    <a:pt x="272" y="61"/>
                  </a:cubicBezTo>
                  <a:cubicBezTo>
                    <a:pt x="271" y="62"/>
                    <a:pt x="269" y="62"/>
                    <a:pt x="267" y="62"/>
                  </a:cubicBezTo>
                  <a:cubicBezTo>
                    <a:pt x="259" y="62"/>
                    <a:pt x="258" y="57"/>
                    <a:pt x="258" y="50"/>
                  </a:cubicBezTo>
                  <a:cubicBezTo>
                    <a:pt x="258" y="26"/>
                    <a:pt x="258" y="26"/>
                    <a:pt x="258" y="26"/>
                  </a:cubicBezTo>
                  <a:moveTo>
                    <a:pt x="310" y="70"/>
                  </a:moveTo>
                  <a:cubicBezTo>
                    <a:pt x="322" y="70"/>
                    <a:pt x="322" y="70"/>
                    <a:pt x="322" y="70"/>
                  </a:cubicBezTo>
                  <a:cubicBezTo>
                    <a:pt x="322" y="17"/>
                    <a:pt x="322" y="17"/>
                    <a:pt x="322" y="17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40"/>
                    <a:pt x="310" y="40"/>
                    <a:pt x="310" y="40"/>
                  </a:cubicBezTo>
                  <a:cubicBezTo>
                    <a:pt x="310" y="47"/>
                    <a:pt x="306" y="59"/>
                    <a:pt x="297" y="59"/>
                  </a:cubicBezTo>
                  <a:cubicBezTo>
                    <a:pt x="296" y="59"/>
                    <a:pt x="295" y="59"/>
                    <a:pt x="294" y="58"/>
                  </a:cubicBezTo>
                  <a:cubicBezTo>
                    <a:pt x="292" y="56"/>
                    <a:pt x="292" y="50"/>
                    <a:pt x="292" y="47"/>
                  </a:cubicBezTo>
                  <a:cubicBezTo>
                    <a:pt x="292" y="17"/>
                    <a:pt x="292" y="17"/>
                    <a:pt x="292" y="17"/>
                  </a:cubicBezTo>
                  <a:cubicBezTo>
                    <a:pt x="280" y="17"/>
                    <a:pt x="280" y="17"/>
                    <a:pt x="280" y="17"/>
                  </a:cubicBezTo>
                  <a:cubicBezTo>
                    <a:pt x="280" y="54"/>
                    <a:pt x="280" y="54"/>
                    <a:pt x="280" y="54"/>
                  </a:cubicBezTo>
                  <a:cubicBezTo>
                    <a:pt x="280" y="63"/>
                    <a:pt x="284" y="71"/>
                    <a:pt x="294" y="71"/>
                  </a:cubicBezTo>
                  <a:cubicBezTo>
                    <a:pt x="301" y="71"/>
                    <a:pt x="307" y="66"/>
                    <a:pt x="309" y="60"/>
                  </a:cubicBezTo>
                  <a:cubicBezTo>
                    <a:pt x="310" y="60"/>
                    <a:pt x="310" y="60"/>
                    <a:pt x="310" y="60"/>
                  </a:cubicBezTo>
                  <a:cubicBezTo>
                    <a:pt x="310" y="70"/>
                    <a:pt x="310" y="70"/>
                    <a:pt x="310" y="70"/>
                  </a:cubicBezTo>
                  <a:moveTo>
                    <a:pt x="342" y="47"/>
                  </a:moveTo>
                  <a:cubicBezTo>
                    <a:pt x="342" y="34"/>
                    <a:pt x="347" y="29"/>
                    <a:pt x="359" y="29"/>
                  </a:cubicBezTo>
                  <a:cubicBezTo>
                    <a:pt x="359" y="16"/>
                    <a:pt x="359" y="16"/>
                    <a:pt x="359" y="16"/>
                  </a:cubicBezTo>
                  <a:cubicBezTo>
                    <a:pt x="350" y="16"/>
                    <a:pt x="346" y="19"/>
                    <a:pt x="342" y="27"/>
                  </a:cubicBezTo>
                  <a:cubicBezTo>
                    <a:pt x="342" y="27"/>
                    <a:pt x="342" y="27"/>
                    <a:pt x="342" y="27"/>
                  </a:cubicBezTo>
                  <a:cubicBezTo>
                    <a:pt x="342" y="17"/>
                    <a:pt x="342" y="17"/>
                    <a:pt x="342" y="17"/>
                  </a:cubicBezTo>
                  <a:cubicBezTo>
                    <a:pt x="330" y="17"/>
                    <a:pt x="330" y="17"/>
                    <a:pt x="330" y="17"/>
                  </a:cubicBezTo>
                  <a:cubicBezTo>
                    <a:pt x="330" y="70"/>
                    <a:pt x="330" y="70"/>
                    <a:pt x="330" y="70"/>
                  </a:cubicBezTo>
                  <a:cubicBezTo>
                    <a:pt x="342" y="70"/>
                    <a:pt x="342" y="70"/>
                    <a:pt x="342" y="70"/>
                  </a:cubicBezTo>
                  <a:cubicBezTo>
                    <a:pt x="342" y="47"/>
                    <a:pt x="342" y="47"/>
                    <a:pt x="342" y="47"/>
                  </a:cubicBezTo>
                  <a:moveTo>
                    <a:pt x="393" y="33"/>
                  </a:moveTo>
                  <a:cubicBezTo>
                    <a:pt x="373" y="33"/>
                    <a:pt x="373" y="33"/>
                    <a:pt x="373" y="33"/>
                  </a:cubicBezTo>
                  <a:cubicBezTo>
                    <a:pt x="374" y="27"/>
                    <a:pt x="378" y="24"/>
                    <a:pt x="383" y="24"/>
                  </a:cubicBezTo>
                  <a:cubicBezTo>
                    <a:pt x="389" y="24"/>
                    <a:pt x="393" y="27"/>
                    <a:pt x="393" y="33"/>
                  </a:cubicBezTo>
                  <a:moveTo>
                    <a:pt x="404" y="40"/>
                  </a:moveTo>
                  <a:cubicBezTo>
                    <a:pt x="404" y="37"/>
                    <a:pt x="404" y="37"/>
                    <a:pt x="404" y="37"/>
                  </a:cubicBezTo>
                  <a:cubicBezTo>
                    <a:pt x="404" y="24"/>
                    <a:pt x="398" y="16"/>
                    <a:pt x="384" y="16"/>
                  </a:cubicBezTo>
                  <a:cubicBezTo>
                    <a:pt x="369" y="16"/>
                    <a:pt x="362" y="26"/>
                    <a:pt x="362" y="41"/>
                  </a:cubicBezTo>
                  <a:cubicBezTo>
                    <a:pt x="362" y="58"/>
                    <a:pt x="370" y="71"/>
                    <a:pt x="388" y="71"/>
                  </a:cubicBezTo>
                  <a:cubicBezTo>
                    <a:pt x="393" y="71"/>
                    <a:pt x="398" y="70"/>
                    <a:pt x="403" y="69"/>
                  </a:cubicBezTo>
                  <a:cubicBezTo>
                    <a:pt x="403" y="60"/>
                    <a:pt x="403" y="60"/>
                    <a:pt x="403" y="60"/>
                  </a:cubicBezTo>
                  <a:cubicBezTo>
                    <a:pt x="400" y="61"/>
                    <a:pt x="396" y="62"/>
                    <a:pt x="393" y="62"/>
                  </a:cubicBezTo>
                  <a:cubicBezTo>
                    <a:pt x="381" y="62"/>
                    <a:pt x="373" y="51"/>
                    <a:pt x="373" y="40"/>
                  </a:cubicBezTo>
                  <a:cubicBezTo>
                    <a:pt x="404" y="40"/>
                    <a:pt x="404" y="40"/>
                    <a:pt x="404" y="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2570163" y="2122488"/>
              <a:ext cx="141288" cy="146050"/>
            </a:xfrm>
            <a:custGeom>
              <a:avLst/>
              <a:gdLst>
                <a:gd name="T0" fmla="*/ 0 w 38"/>
                <a:gd name="T1" fmla="*/ 0 h 39"/>
                <a:gd name="T2" fmla="*/ 0 w 38"/>
                <a:gd name="T3" fmla="*/ 9 h 39"/>
                <a:gd name="T4" fmla="*/ 28 w 38"/>
                <a:gd name="T5" fmla="*/ 20 h 39"/>
                <a:gd name="T6" fmla="*/ 0 w 38"/>
                <a:gd name="T7" fmla="*/ 31 h 39"/>
                <a:gd name="T8" fmla="*/ 0 w 38"/>
                <a:gd name="T9" fmla="*/ 39 h 39"/>
                <a:gd name="T10" fmla="*/ 38 w 38"/>
                <a:gd name="T11" fmla="*/ 24 h 39"/>
                <a:gd name="T12" fmla="*/ 38 w 38"/>
                <a:gd name="T13" fmla="*/ 16 h 39"/>
                <a:gd name="T14" fmla="*/ 0 w 38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24" y="18"/>
                    <a:pt x="28" y="20"/>
                  </a:cubicBezTo>
                  <a:cubicBezTo>
                    <a:pt x="24" y="21"/>
                    <a:pt x="0" y="31"/>
                    <a:pt x="0" y="3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5614" y="2569409"/>
            <a:ext cx="4010024" cy="747713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/>
          </p:nvPr>
        </p:nvSpPr>
        <p:spPr>
          <a:xfrm>
            <a:off x="455613" y="3372453"/>
            <a:ext cx="4010024" cy="35067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15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15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5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921668" y="650332"/>
            <a:ext cx="3739896" cy="167039"/>
            <a:chOff x="533400" y="3606804"/>
            <a:chExt cx="8077201" cy="481012"/>
          </a:xfrm>
          <a:solidFill>
            <a:schemeClr val="bg1"/>
          </a:solidFill>
        </p:grpSpPr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533400" y="3621091"/>
              <a:ext cx="1577975" cy="450850"/>
            </a:xfrm>
            <a:custGeom>
              <a:avLst/>
              <a:gdLst>
                <a:gd name="T0" fmla="*/ 43 w 421"/>
                <a:gd name="T1" fmla="*/ 70 h 120"/>
                <a:gd name="T2" fmla="*/ 0 w 421"/>
                <a:gd name="T3" fmla="*/ 23 h 120"/>
                <a:gd name="T4" fmla="*/ 49 w 421"/>
                <a:gd name="T5" fmla="*/ 13 h 120"/>
                <a:gd name="T6" fmla="*/ 27 w 421"/>
                <a:gd name="T7" fmla="*/ 40 h 120"/>
                <a:gd name="T8" fmla="*/ 23 w 421"/>
                <a:gd name="T9" fmla="*/ 95 h 120"/>
                <a:gd name="T10" fmla="*/ 2 w 421"/>
                <a:gd name="T11" fmla="*/ 81 h 120"/>
                <a:gd name="T12" fmla="*/ 74 w 421"/>
                <a:gd name="T13" fmla="*/ 79 h 120"/>
                <a:gd name="T14" fmla="*/ 63 w 421"/>
                <a:gd name="T15" fmla="*/ 31 h 120"/>
                <a:gd name="T16" fmla="*/ 83 w 421"/>
                <a:gd name="T17" fmla="*/ 9 h 120"/>
                <a:gd name="T18" fmla="*/ 99 w 421"/>
                <a:gd name="T19" fmla="*/ 38 h 120"/>
                <a:gd name="T20" fmla="*/ 92 w 421"/>
                <a:gd name="T21" fmla="*/ 86 h 120"/>
                <a:gd name="T22" fmla="*/ 99 w 421"/>
                <a:gd name="T23" fmla="*/ 94 h 120"/>
                <a:gd name="T24" fmla="*/ 120 w 421"/>
                <a:gd name="T25" fmla="*/ 31 h 120"/>
                <a:gd name="T26" fmla="*/ 142 w 421"/>
                <a:gd name="T27" fmla="*/ 29 h 120"/>
                <a:gd name="T28" fmla="*/ 120 w 421"/>
                <a:gd name="T29" fmla="*/ 94 h 120"/>
                <a:gd name="T30" fmla="*/ 183 w 421"/>
                <a:gd name="T31" fmla="*/ 94 h 120"/>
                <a:gd name="T32" fmla="*/ 164 w 421"/>
                <a:gd name="T33" fmla="*/ 95 h 120"/>
                <a:gd name="T34" fmla="*/ 183 w 421"/>
                <a:gd name="T35" fmla="*/ 56 h 120"/>
                <a:gd name="T36" fmla="*/ 149 w 421"/>
                <a:gd name="T37" fmla="*/ 47 h 120"/>
                <a:gd name="T38" fmla="*/ 192 w 421"/>
                <a:gd name="T39" fmla="*/ 94 h 120"/>
                <a:gd name="T40" fmla="*/ 178 w 421"/>
                <a:gd name="T41" fmla="*/ 65 h 120"/>
                <a:gd name="T42" fmla="*/ 182 w 421"/>
                <a:gd name="T43" fmla="*/ 77 h 120"/>
                <a:gd name="T44" fmla="*/ 178 w 421"/>
                <a:gd name="T45" fmla="*/ 65 h 120"/>
                <a:gd name="T46" fmla="*/ 218 w 421"/>
                <a:gd name="T47" fmla="*/ 79 h 120"/>
                <a:gd name="T48" fmla="*/ 207 w 421"/>
                <a:gd name="T49" fmla="*/ 31 h 120"/>
                <a:gd name="T50" fmla="*/ 226 w 421"/>
                <a:gd name="T51" fmla="*/ 9 h 120"/>
                <a:gd name="T52" fmla="*/ 243 w 421"/>
                <a:gd name="T53" fmla="*/ 38 h 120"/>
                <a:gd name="T54" fmla="*/ 235 w 421"/>
                <a:gd name="T55" fmla="*/ 86 h 120"/>
                <a:gd name="T56" fmla="*/ 243 w 421"/>
                <a:gd name="T57" fmla="*/ 94 h 120"/>
                <a:gd name="T58" fmla="*/ 252 w 421"/>
                <a:gd name="T59" fmla="*/ 59 h 120"/>
                <a:gd name="T60" fmla="*/ 298 w 421"/>
                <a:gd name="T61" fmla="*/ 56 h 120"/>
                <a:gd name="T62" fmla="*/ 284 w 421"/>
                <a:gd name="T63" fmla="*/ 86 h 120"/>
                <a:gd name="T64" fmla="*/ 297 w 421"/>
                <a:gd name="T65" fmla="*/ 94 h 120"/>
                <a:gd name="T66" fmla="*/ 262 w 421"/>
                <a:gd name="T67" fmla="*/ 49 h 120"/>
                <a:gd name="T68" fmla="*/ 347 w 421"/>
                <a:gd name="T69" fmla="*/ 81 h 120"/>
                <a:gd name="T70" fmla="*/ 309 w 421"/>
                <a:gd name="T71" fmla="*/ 61 h 120"/>
                <a:gd name="T72" fmla="*/ 347 w 421"/>
                <a:gd name="T73" fmla="*/ 40 h 120"/>
                <a:gd name="T74" fmla="*/ 356 w 421"/>
                <a:gd name="T75" fmla="*/ 94 h 120"/>
                <a:gd name="T76" fmla="*/ 311 w 421"/>
                <a:gd name="T77" fmla="*/ 110 h 120"/>
                <a:gd name="T78" fmla="*/ 347 w 421"/>
                <a:gd name="T79" fmla="*/ 81 h 120"/>
                <a:gd name="T80" fmla="*/ 332 w 421"/>
                <a:gd name="T81" fmla="*/ 36 h 120"/>
                <a:gd name="T82" fmla="*/ 347 w 421"/>
                <a:gd name="T83" fmla="*/ 61 h 120"/>
                <a:gd name="T84" fmla="*/ 367 w 421"/>
                <a:gd name="T85" fmla="*/ 31 h 120"/>
                <a:gd name="T86" fmla="*/ 394 w 421"/>
                <a:gd name="T87" fmla="*/ 79 h 120"/>
                <a:gd name="T88" fmla="*/ 390 w 421"/>
                <a:gd name="T89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1" h="120">
                  <a:moveTo>
                    <a:pt x="2" y="81"/>
                  </a:moveTo>
                  <a:cubicBezTo>
                    <a:pt x="9" y="85"/>
                    <a:pt x="16" y="86"/>
                    <a:pt x="23" y="86"/>
                  </a:cubicBezTo>
                  <a:cubicBezTo>
                    <a:pt x="34" y="86"/>
                    <a:pt x="43" y="81"/>
                    <a:pt x="43" y="70"/>
                  </a:cubicBezTo>
                  <a:cubicBezTo>
                    <a:pt x="43" y="59"/>
                    <a:pt x="36" y="56"/>
                    <a:pt x="29" y="52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1" y="41"/>
                    <a:pt x="0" y="36"/>
                    <a:pt x="0" y="23"/>
                  </a:cubicBezTo>
                  <a:cubicBezTo>
                    <a:pt x="0" y="7"/>
                    <a:pt x="14" y="0"/>
                    <a:pt x="31" y="0"/>
                  </a:cubicBezTo>
                  <a:cubicBezTo>
                    <a:pt x="36" y="0"/>
                    <a:pt x="43" y="2"/>
                    <a:pt x="49" y="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3" y="11"/>
                    <a:pt x="36" y="9"/>
                    <a:pt x="29" y="9"/>
                  </a:cubicBezTo>
                  <a:cubicBezTo>
                    <a:pt x="20" y="9"/>
                    <a:pt x="13" y="13"/>
                    <a:pt x="13" y="23"/>
                  </a:cubicBezTo>
                  <a:cubicBezTo>
                    <a:pt x="13" y="31"/>
                    <a:pt x="20" y="36"/>
                    <a:pt x="27" y="40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7" y="50"/>
                    <a:pt x="56" y="56"/>
                    <a:pt x="56" y="68"/>
                  </a:cubicBezTo>
                  <a:cubicBezTo>
                    <a:pt x="56" y="88"/>
                    <a:pt x="40" y="95"/>
                    <a:pt x="23" y="95"/>
                  </a:cubicBezTo>
                  <a:cubicBezTo>
                    <a:pt x="16" y="95"/>
                    <a:pt x="9" y="94"/>
                    <a:pt x="2" y="92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2" y="81"/>
                    <a:pt x="2" y="81"/>
                    <a:pt x="2" y="81"/>
                  </a:cubicBezTo>
                  <a:close/>
                  <a:moveTo>
                    <a:pt x="99" y="94"/>
                  </a:moveTo>
                  <a:cubicBezTo>
                    <a:pt x="95" y="95"/>
                    <a:pt x="94" y="95"/>
                    <a:pt x="90" y="95"/>
                  </a:cubicBezTo>
                  <a:cubicBezTo>
                    <a:pt x="79" y="95"/>
                    <a:pt x="74" y="90"/>
                    <a:pt x="74" y="79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83"/>
                    <a:pt x="85" y="86"/>
                    <a:pt x="92" y="86"/>
                  </a:cubicBezTo>
                  <a:cubicBezTo>
                    <a:pt x="95" y="86"/>
                    <a:pt x="97" y="86"/>
                    <a:pt x="99" y="86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9" y="94"/>
                    <a:pt x="99" y="94"/>
                  </a:cubicBezTo>
                  <a:close/>
                  <a:moveTo>
                    <a:pt x="112" y="94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4" y="32"/>
                    <a:pt x="131" y="29"/>
                    <a:pt x="142" y="29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26" y="38"/>
                    <a:pt x="120" y="54"/>
                    <a:pt x="120" y="67"/>
                  </a:cubicBezTo>
                  <a:cubicBezTo>
                    <a:pt x="120" y="94"/>
                    <a:pt x="120" y="94"/>
                    <a:pt x="120" y="94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2" y="94"/>
                    <a:pt x="112" y="94"/>
                    <a:pt x="112" y="94"/>
                  </a:cubicBezTo>
                  <a:close/>
                  <a:moveTo>
                    <a:pt x="183" y="94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83" y="85"/>
                    <a:pt x="183" y="85"/>
                    <a:pt x="183" y="85"/>
                  </a:cubicBezTo>
                  <a:cubicBezTo>
                    <a:pt x="180" y="92"/>
                    <a:pt x="171" y="95"/>
                    <a:pt x="164" y="95"/>
                  </a:cubicBezTo>
                  <a:cubicBezTo>
                    <a:pt x="153" y="95"/>
                    <a:pt x="147" y="88"/>
                    <a:pt x="147" y="77"/>
                  </a:cubicBezTo>
                  <a:cubicBezTo>
                    <a:pt x="147" y="63"/>
                    <a:pt x="164" y="58"/>
                    <a:pt x="183" y="58"/>
                  </a:cubicBezTo>
                  <a:cubicBezTo>
                    <a:pt x="183" y="56"/>
                    <a:pt x="183" y="56"/>
                    <a:pt x="183" y="56"/>
                  </a:cubicBezTo>
                  <a:cubicBezTo>
                    <a:pt x="183" y="47"/>
                    <a:pt x="183" y="36"/>
                    <a:pt x="171" y="36"/>
                  </a:cubicBezTo>
                  <a:cubicBezTo>
                    <a:pt x="164" y="36"/>
                    <a:pt x="160" y="38"/>
                    <a:pt x="158" y="47"/>
                  </a:cubicBezTo>
                  <a:cubicBezTo>
                    <a:pt x="149" y="47"/>
                    <a:pt x="149" y="47"/>
                    <a:pt x="149" y="47"/>
                  </a:cubicBezTo>
                  <a:cubicBezTo>
                    <a:pt x="149" y="34"/>
                    <a:pt x="160" y="29"/>
                    <a:pt x="171" y="29"/>
                  </a:cubicBezTo>
                  <a:cubicBezTo>
                    <a:pt x="185" y="29"/>
                    <a:pt x="192" y="34"/>
                    <a:pt x="192" y="49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94"/>
                    <a:pt x="183" y="94"/>
                    <a:pt x="183" y="94"/>
                  </a:cubicBezTo>
                  <a:close/>
                  <a:moveTo>
                    <a:pt x="178" y="65"/>
                  </a:moveTo>
                  <a:cubicBezTo>
                    <a:pt x="171" y="65"/>
                    <a:pt x="158" y="68"/>
                    <a:pt x="158" y="77"/>
                  </a:cubicBezTo>
                  <a:cubicBezTo>
                    <a:pt x="158" y="83"/>
                    <a:pt x="162" y="86"/>
                    <a:pt x="167" y="86"/>
                  </a:cubicBezTo>
                  <a:cubicBezTo>
                    <a:pt x="173" y="86"/>
                    <a:pt x="178" y="83"/>
                    <a:pt x="182" y="77"/>
                  </a:cubicBezTo>
                  <a:cubicBezTo>
                    <a:pt x="183" y="72"/>
                    <a:pt x="183" y="70"/>
                    <a:pt x="183" y="65"/>
                  </a:cubicBezTo>
                  <a:cubicBezTo>
                    <a:pt x="178" y="65"/>
                    <a:pt x="178" y="65"/>
                    <a:pt x="178" y="65"/>
                  </a:cubicBezTo>
                  <a:cubicBezTo>
                    <a:pt x="178" y="65"/>
                    <a:pt x="178" y="65"/>
                    <a:pt x="178" y="65"/>
                  </a:cubicBezTo>
                  <a:close/>
                  <a:moveTo>
                    <a:pt x="243" y="94"/>
                  </a:moveTo>
                  <a:cubicBezTo>
                    <a:pt x="239" y="95"/>
                    <a:pt x="237" y="95"/>
                    <a:pt x="234" y="95"/>
                  </a:cubicBezTo>
                  <a:cubicBezTo>
                    <a:pt x="223" y="95"/>
                    <a:pt x="218" y="90"/>
                    <a:pt x="218" y="7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07" y="38"/>
                    <a:pt x="207" y="38"/>
                    <a:pt x="207" y="38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18" y="31"/>
                    <a:pt x="218" y="31"/>
                    <a:pt x="218" y="31"/>
                  </a:cubicBezTo>
                  <a:cubicBezTo>
                    <a:pt x="218" y="14"/>
                    <a:pt x="218" y="14"/>
                    <a:pt x="218" y="14"/>
                  </a:cubicBezTo>
                  <a:cubicBezTo>
                    <a:pt x="226" y="9"/>
                    <a:pt x="226" y="9"/>
                    <a:pt x="226" y="9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43" y="31"/>
                    <a:pt x="243" y="31"/>
                    <a:pt x="243" y="31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26" y="38"/>
                    <a:pt x="226" y="38"/>
                    <a:pt x="226" y="38"/>
                  </a:cubicBezTo>
                  <a:cubicBezTo>
                    <a:pt x="226" y="77"/>
                    <a:pt x="226" y="77"/>
                    <a:pt x="226" y="77"/>
                  </a:cubicBezTo>
                  <a:cubicBezTo>
                    <a:pt x="226" y="83"/>
                    <a:pt x="228" y="86"/>
                    <a:pt x="235" y="86"/>
                  </a:cubicBezTo>
                  <a:cubicBezTo>
                    <a:pt x="239" y="86"/>
                    <a:pt x="239" y="86"/>
                    <a:pt x="243" y="86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43" y="94"/>
                    <a:pt x="243" y="94"/>
                    <a:pt x="243" y="94"/>
                  </a:cubicBezTo>
                  <a:close/>
                  <a:moveTo>
                    <a:pt x="297" y="94"/>
                  </a:moveTo>
                  <a:cubicBezTo>
                    <a:pt x="291" y="94"/>
                    <a:pt x="288" y="95"/>
                    <a:pt x="282" y="95"/>
                  </a:cubicBezTo>
                  <a:cubicBezTo>
                    <a:pt x="261" y="95"/>
                    <a:pt x="252" y="81"/>
                    <a:pt x="252" y="59"/>
                  </a:cubicBezTo>
                  <a:cubicBezTo>
                    <a:pt x="252" y="43"/>
                    <a:pt x="257" y="29"/>
                    <a:pt x="275" y="29"/>
                  </a:cubicBezTo>
                  <a:cubicBezTo>
                    <a:pt x="291" y="29"/>
                    <a:pt x="298" y="38"/>
                    <a:pt x="298" y="52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61" y="59"/>
                    <a:pt x="261" y="59"/>
                    <a:pt x="261" y="59"/>
                  </a:cubicBezTo>
                  <a:cubicBezTo>
                    <a:pt x="261" y="74"/>
                    <a:pt x="268" y="86"/>
                    <a:pt x="284" y="86"/>
                  </a:cubicBezTo>
                  <a:cubicBezTo>
                    <a:pt x="288" y="86"/>
                    <a:pt x="293" y="86"/>
                    <a:pt x="297" y="85"/>
                  </a:cubicBezTo>
                  <a:cubicBezTo>
                    <a:pt x="297" y="94"/>
                    <a:pt x="297" y="94"/>
                    <a:pt x="297" y="94"/>
                  </a:cubicBezTo>
                  <a:cubicBezTo>
                    <a:pt x="297" y="94"/>
                    <a:pt x="297" y="94"/>
                    <a:pt x="297" y="94"/>
                  </a:cubicBezTo>
                  <a:close/>
                  <a:moveTo>
                    <a:pt x="288" y="49"/>
                  </a:moveTo>
                  <a:cubicBezTo>
                    <a:pt x="288" y="41"/>
                    <a:pt x="282" y="36"/>
                    <a:pt x="275" y="36"/>
                  </a:cubicBezTo>
                  <a:cubicBezTo>
                    <a:pt x="268" y="36"/>
                    <a:pt x="264" y="41"/>
                    <a:pt x="262" y="49"/>
                  </a:cubicBezTo>
                  <a:cubicBezTo>
                    <a:pt x="288" y="49"/>
                    <a:pt x="288" y="49"/>
                    <a:pt x="288" y="49"/>
                  </a:cubicBezTo>
                  <a:cubicBezTo>
                    <a:pt x="288" y="49"/>
                    <a:pt x="288" y="49"/>
                    <a:pt x="288" y="49"/>
                  </a:cubicBezTo>
                  <a:close/>
                  <a:moveTo>
                    <a:pt x="347" y="81"/>
                  </a:moveTo>
                  <a:cubicBezTo>
                    <a:pt x="347" y="81"/>
                    <a:pt x="347" y="81"/>
                    <a:pt x="347" y="81"/>
                  </a:cubicBezTo>
                  <a:cubicBezTo>
                    <a:pt x="343" y="88"/>
                    <a:pt x="338" y="94"/>
                    <a:pt x="329" y="94"/>
                  </a:cubicBezTo>
                  <a:cubicBezTo>
                    <a:pt x="313" y="94"/>
                    <a:pt x="309" y="76"/>
                    <a:pt x="309" y="61"/>
                  </a:cubicBezTo>
                  <a:cubicBezTo>
                    <a:pt x="309" y="49"/>
                    <a:pt x="313" y="29"/>
                    <a:pt x="331" y="29"/>
                  </a:cubicBezTo>
                  <a:cubicBezTo>
                    <a:pt x="338" y="29"/>
                    <a:pt x="345" y="32"/>
                    <a:pt x="347" y="40"/>
                  </a:cubicBezTo>
                  <a:cubicBezTo>
                    <a:pt x="347" y="40"/>
                    <a:pt x="347" y="40"/>
                    <a:pt x="347" y="40"/>
                  </a:cubicBezTo>
                  <a:cubicBezTo>
                    <a:pt x="347" y="31"/>
                    <a:pt x="347" y="31"/>
                    <a:pt x="347" y="31"/>
                  </a:cubicBezTo>
                  <a:cubicBezTo>
                    <a:pt x="356" y="31"/>
                    <a:pt x="356" y="31"/>
                    <a:pt x="356" y="31"/>
                  </a:cubicBezTo>
                  <a:cubicBezTo>
                    <a:pt x="356" y="94"/>
                    <a:pt x="356" y="94"/>
                    <a:pt x="356" y="94"/>
                  </a:cubicBezTo>
                  <a:cubicBezTo>
                    <a:pt x="356" y="112"/>
                    <a:pt x="347" y="120"/>
                    <a:pt x="329" y="120"/>
                  </a:cubicBezTo>
                  <a:cubicBezTo>
                    <a:pt x="324" y="120"/>
                    <a:pt x="318" y="120"/>
                    <a:pt x="311" y="119"/>
                  </a:cubicBezTo>
                  <a:cubicBezTo>
                    <a:pt x="311" y="110"/>
                    <a:pt x="311" y="110"/>
                    <a:pt x="311" y="110"/>
                  </a:cubicBezTo>
                  <a:cubicBezTo>
                    <a:pt x="316" y="112"/>
                    <a:pt x="322" y="113"/>
                    <a:pt x="327" y="113"/>
                  </a:cubicBezTo>
                  <a:cubicBezTo>
                    <a:pt x="341" y="113"/>
                    <a:pt x="347" y="106"/>
                    <a:pt x="347" y="92"/>
                  </a:cubicBezTo>
                  <a:cubicBezTo>
                    <a:pt x="347" y="81"/>
                    <a:pt x="347" y="81"/>
                    <a:pt x="347" y="81"/>
                  </a:cubicBezTo>
                  <a:cubicBezTo>
                    <a:pt x="347" y="81"/>
                    <a:pt x="347" y="81"/>
                    <a:pt x="347" y="81"/>
                  </a:cubicBezTo>
                  <a:close/>
                  <a:moveTo>
                    <a:pt x="347" y="61"/>
                  </a:moveTo>
                  <a:cubicBezTo>
                    <a:pt x="347" y="52"/>
                    <a:pt x="343" y="36"/>
                    <a:pt x="332" y="36"/>
                  </a:cubicBezTo>
                  <a:cubicBezTo>
                    <a:pt x="320" y="36"/>
                    <a:pt x="318" y="54"/>
                    <a:pt x="318" y="63"/>
                  </a:cubicBezTo>
                  <a:cubicBezTo>
                    <a:pt x="318" y="70"/>
                    <a:pt x="320" y="86"/>
                    <a:pt x="331" y="86"/>
                  </a:cubicBezTo>
                  <a:cubicBezTo>
                    <a:pt x="343" y="86"/>
                    <a:pt x="347" y="70"/>
                    <a:pt x="347" y="61"/>
                  </a:cubicBezTo>
                  <a:close/>
                  <a:moveTo>
                    <a:pt x="381" y="119"/>
                  </a:moveTo>
                  <a:cubicBezTo>
                    <a:pt x="390" y="94"/>
                    <a:pt x="390" y="94"/>
                    <a:pt x="390" y="94"/>
                  </a:cubicBezTo>
                  <a:cubicBezTo>
                    <a:pt x="367" y="31"/>
                    <a:pt x="367" y="31"/>
                    <a:pt x="367" y="31"/>
                  </a:cubicBezTo>
                  <a:cubicBezTo>
                    <a:pt x="376" y="31"/>
                    <a:pt x="376" y="31"/>
                    <a:pt x="376" y="31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412" y="31"/>
                    <a:pt x="412" y="31"/>
                    <a:pt x="412" y="31"/>
                  </a:cubicBezTo>
                  <a:cubicBezTo>
                    <a:pt x="421" y="31"/>
                    <a:pt x="421" y="31"/>
                    <a:pt x="421" y="31"/>
                  </a:cubicBezTo>
                  <a:cubicBezTo>
                    <a:pt x="390" y="119"/>
                    <a:pt x="390" y="119"/>
                    <a:pt x="390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81" y="119"/>
                    <a:pt x="381" y="119"/>
                    <a:pt x="381" y="1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2276475" y="3606804"/>
              <a:ext cx="30163" cy="481012"/>
            </a:xfrm>
            <a:custGeom>
              <a:avLst/>
              <a:gdLst>
                <a:gd name="T0" fmla="*/ 0 w 8"/>
                <a:gd name="T1" fmla="*/ 128 h 128"/>
                <a:gd name="T2" fmla="*/ 0 w 8"/>
                <a:gd name="T3" fmla="*/ 0 h 128"/>
                <a:gd name="T4" fmla="*/ 8 w 8"/>
                <a:gd name="T5" fmla="*/ 0 h 128"/>
                <a:gd name="T6" fmla="*/ 8 w 8"/>
                <a:gd name="T7" fmla="*/ 128 h 128"/>
                <a:gd name="T8" fmla="*/ 0 w 8"/>
                <a:gd name="T9" fmla="*/ 128 h 128"/>
                <a:gd name="T10" fmla="*/ 0 w 8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2509838" y="3629029"/>
              <a:ext cx="1169988" cy="442912"/>
            </a:xfrm>
            <a:custGeom>
              <a:avLst/>
              <a:gdLst>
                <a:gd name="T0" fmla="*/ 0 w 312"/>
                <a:gd name="T1" fmla="*/ 0 h 118"/>
                <a:gd name="T2" fmla="*/ 59 w 312"/>
                <a:gd name="T3" fmla="*/ 45 h 118"/>
                <a:gd name="T4" fmla="*/ 18 w 312"/>
                <a:gd name="T5" fmla="*/ 92 h 118"/>
                <a:gd name="T6" fmla="*/ 0 w 312"/>
                <a:gd name="T7" fmla="*/ 92 h 118"/>
                <a:gd name="T8" fmla="*/ 34 w 312"/>
                <a:gd name="T9" fmla="*/ 81 h 118"/>
                <a:gd name="T10" fmla="*/ 32 w 312"/>
                <a:gd name="T11" fmla="*/ 11 h 118"/>
                <a:gd name="T12" fmla="*/ 10 w 312"/>
                <a:gd name="T13" fmla="*/ 9 h 118"/>
                <a:gd name="T14" fmla="*/ 18 w 312"/>
                <a:gd name="T15" fmla="*/ 83 h 118"/>
                <a:gd name="T16" fmla="*/ 73 w 312"/>
                <a:gd name="T17" fmla="*/ 11 h 118"/>
                <a:gd name="T18" fmla="*/ 86 w 312"/>
                <a:gd name="T19" fmla="*/ 0 h 118"/>
                <a:gd name="T20" fmla="*/ 73 w 312"/>
                <a:gd name="T21" fmla="*/ 11 h 118"/>
                <a:gd name="T22" fmla="*/ 75 w 312"/>
                <a:gd name="T23" fmla="*/ 92 h 118"/>
                <a:gd name="T24" fmla="*/ 84 w 312"/>
                <a:gd name="T25" fmla="*/ 29 h 118"/>
                <a:gd name="T26" fmla="*/ 75 w 312"/>
                <a:gd name="T27" fmla="*/ 92 h 118"/>
                <a:gd name="T28" fmla="*/ 140 w 312"/>
                <a:gd name="T29" fmla="*/ 79 h 118"/>
                <a:gd name="T30" fmla="*/ 122 w 312"/>
                <a:gd name="T31" fmla="*/ 92 h 118"/>
                <a:gd name="T32" fmla="*/ 122 w 312"/>
                <a:gd name="T33" fmla="*/ 27 h 118"/>
                <a:gd name="T34" fmla="*/ 140 w 312"/>
                <a:gd name="T35" fmla="*/ 38 h 118"/>
                <a:gd name="T36" fmla="*/ 149 w 312"/>
                <a:gd name="T37" fmla="*/ 29 h 118"/>
                <a:gd name="T38" fmla="*/ 122 w 312"/>
                <a:gd name="T39" fmla="*/ 118 h 118"/>
                <a:gd name="T40" fmla="*/ 104 w 312"/>
                <a:gd name="T41" fmla="*/ 108 h 118"/>
                <a:gd name="T42" fmla="*/ 140 w 312"/>
                <a:gd name="T43" fmla="*/ 90 h 118"/>
                <a:gd name="T44" fmla="*/ 140 w 312"/>
                <a:gd name="T45" fmla="*/ 79 h 118"/>
                <a:gd name="T46" fmla="*/ 124 w 312"/>
                <a:gd name="T47" fmla="*/ 34 h 118"/>
                <a:gd name="T48" fmla="*/ 124 w 312"/>
                <a:gd name="T49" fmla="*/ 84 h 118"/>
                <a:gd name="T50" fmla="*/ 167 w 312"/>
                <a:gd name="T51" fmla="*/ 11 h 118"/>
                <a:gd name="T52" fmla="*/ 179 w 312"/>
                <a:gd name="T53" fmla="*/ 0 h 118"/>
                <a:gd name="T54" fmla="*/ 167 w 312"/>
                <a:gd name="T55" fmla="*/ 11 h 118"/>
                <a:gd name="T56" fmla="*/ 168 w 312"/>
                <a:gd name="T57" fmla="*/ 92 h 118"/>
                <a:gd name="T58" fmla="*/ 177 w 312"/>
                <a:gd name="T59" fmla="*/ 29 h 118"/>
                <a:gd name="T60" fmla="*/ 168 w 312"/>
                <a:gd name="T61" fmla="*/ 92 h 118"/>
                <a:gd name="T62" fmla="*/ 230 w 312"/>
                <a:gd name="T63" fmla="*/ 92 h 118"/>
                <a:gd name="T64" fmla="*/ 203 w 312"/>
                <a:gd name="T65" fmla="*/ 77 h 118"/>
                <a:gd name="T66" fmla="*/ 194 w 312"/>
                <a:gd name="T67" fmla="*/ 36 h 118"/>
                <a:gd name="T68" fmla="*/ 203 w 312"/>
                <a:gd name="T69" fmla="*/ 29 h 118"/>
                <a:gd name="T70" fmla="*/ 212 w 312"/>
                <a:gd name="T71" fmla="*/ 7 h 118"/>
                <a:gd name="T72" fmla="*/ 230 w 312"/>
                <a:gd name="T73" fmla="*/ 29 h 118"/>
                <a:gd name="T74" fmla="*/ 212 w 312"/>
                <a:gd name="T75" fmla="*/ 36 h 118"/>
                <a:gd name="T76" fmla="*/ 222 w 312"/>
                <a:gd name="T77" fmla="*/ 84 h 118"/>
                <a:gd name="T78" fmla="*/ 230 w 312"/>
                <a:gd name="T79" fmla="*/ 92 h 118"/>
                <a:gd name="T80" fmla="*/ 273 w 312"/>
                <a:gd name="T81" fmla="*/ 92 h 118"/>
                <a:gd name="T82" fmla="*/ 273 w 312"/>
                <a:gd name="T83" fmla="*/ 83 h 118"/>
                <a:gd name="T84" fmla="*/ 237 w 312"/>
                <a:gd name="T85" fmla="*/ 75 h 118"/>
                <a:gd name="T86" fmla="*/ 273 w 312"/>
                <a:gd name="T87" fmla="*/ 54 h 118"/>
                <a:gd name="T88" fmla="*/ 247 w 312"/>
                <a:gd name="T89" fmla="*/ 45 h 118"/>
                <a:gd name="T90" fmla="*/ 260 w 312"/>
                <a:gd name="T91" fmla="*/ 27 h 118"/>
                <a:gd name="T92" fmla="*/ 282 w 312"/>
                <a:gd name="T93" fmla="*/ 92 h 118"/>
                <a:gd name="T94" fmla="*/ 273 w 312"/>
                <a:gd name="T95" fmla="*/ 92 h 118"/>
                <a:gd name="T96" fmla="*/ 247 w 312"/>
                <a:gd name="T97" fmla="*/ 75 h 118"/>
                <a:gd name="T98" fmla="*/ 271 w 312"/>
                <a:gd name="T99" fmla="*/ 75 h 118"/>
                <a:gd name="T100" fmla="*/ 267 w 312"/>
                <a:gd name="T101" fmla="*/ 63 h 118"/>
                <a:gd name="T102" fmla="*/ 303 w 312"/>
                <a:gd name="T103" fmla="*/ 92 h 118"/>
                <a:gd name="T104" fmla="*/ 312 w 312"/>
                <a:gd name="T105" fmla="*/ 0 h 118"/>
                <a:gd name="T106" fmla="*/ 303 w 312"/>
                <a:gd name="T107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2" h="118">
                  <a:moveTo>
                    <a:pt x="0" y="9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50" y="0"/>
                    <a:pt x="59" y="18"/>
                    <a:pt x="59" y="45"/>
                  </a:cubicBezTo>
                  <a:cubicBezTo>
                    <a:pt x="59" y="63"/>
                    <a:pt x="55" y="83"/>
                    <a:pt x="37" y="88"/>
                  </a:cubicBezTo>
                  <a:cubicBezTo>
                    <a:pt x="30" y="92"/>
                    <a:pt x="25" y="92"/>
                    <a:pt x="18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2"/>
                    <a:pt x="0" y="92"/>
                  </a:cubicBezTo>
                  <a:close/>
                  <a:moveTo>
                    <a:pt x="18" y="83"/>
                  </a:moveTo>
                  <a:cubicBezTo>
                    <a:pt x="23" y="83"/>
                    <a:pt x="28" y="83"/>
                    <a:pt x="34" y="81"/>
                  </a:cubicBezTo>
                  <a:cubicBezTo>
                    <a:pt x="46" y="74"/>
                    <a:pt x="48" y="57"/>
                    <a:pt x="48" y="45"/>
                  </a:cubicBezTo>
                  <a:cubicBezTo>
                    <a:pt x="48" y="32"/>
                    <a:pt x="46" y="16"/>
                    <a:pt x="32" y="11"/>
                  </a:cubicBezTo>
                  <a:cubicBezTo>
                    <a:pt x="26" y="9"/>
                    <a:pt x="21" y="9"/>
                    <a:pt x="16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lose/>
                  <a:moveTo>
                    <a:pt x="73" y="11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close/>
                  <a:moveTo>
                    <a:pt x="75" y="92"/>
                  </a:moveTo>
                  <a:cubicBezTo>
                    <a:pt x="75" y="29"/>
                    <a:pt x="75" y="29"/>
                    <a:pt x="75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75" y="92"/>
                    <a:pt x="75" y="92"/>
                    <a:pt x="75" y="92"/>
                  </a:cubicBezTo>
                  <a:cubicBezTo>
                    <a:pt x="75" y="92"/>
                    <a:pt x="75" y="92"/>
                    <a:pt x="75" y="92"/>
                  </a:cubicBezTo>
                  <a:close/>
                  <a:moveTo>
                    <a:pt x="140" y="79"/>
                  </a:moveTo>
                  <a:cubicBezTo>
                    <a:pt x="140" y="79"/>
                    <a:pt x="140" y="79"/>
                    <a:pt x="140" y="79"/>
                  </a:cubicBezTo>
                  <a:cubicBezTo>
                    <a:pt x="136" y="86"/>
                    <a:pt x="131" y="92"/>
                    <a:pt x="122" y="92"/>
                  </a:cubicBezTo>
                  <a:cubicBezTo>
                    <a:pt x="106" y="92"/>
                    <a:pt x="100" y="74"/>
                    <a:pt x="100" y="59"/>
                  </a:cubicBezTo>
                  <a:cubicBezTo>
                    <a:pt x="100" y="47"/>
                    <a:pt x="106" y="27"/>
                    <a:pt x="122" y="27"/>
                  </a:cubicBezTo>
                  <a:cubicBezTo>
                    <a:pt x="131" y="27"/>
                    <a:pt x="136" y="30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29"/>
                    <a:pt x="140" y="29"/>
                    <a:pt x="140" y="29"/>
                  </a:cubicBezTo>
                  <a:cubicBezTo>
                    <a:pt x="149" y="29"/>
                    <a:pt x="149" y="29"/>
                    <a:pt x="149" y="29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49" y="110"/>
                    <a:pt x="140" y="118"/>
                    <a:pt x="122" y="118"/>
                  </a:cubicBezTo>
                  <a:cubicBezTo>
                    <a:pt x="115" y="118"/>
                    <a:pt x="111" y="118"/>
                    <a:pt x="104" y="117"/>
                  </a:cubicBezTo>
                  <a:cubicBezTo>
                    <a:pt x="104" y="108"/>
                    <a:pt x="104" y="108"/>
                    <a:pt x="104" y="108"/>
                  </a:cubicBezTo>
                  <a:cubicBezTo>
                    <a:pt x="109" y="110"/>
                    <a:pt x="115" y="111"/>
                    <a:pt x="120" y="111"/>
                  </a:cubicBezTo>
                  <a:cubicBezTo>
                    <a:pt x="134" y="111"/>
                    <a:pt x="140" y="104"/>
                    <a:pt x="140" y="90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79"/>
                    <a:pt x="140" y="79"/>
                    <a:pt x="140" y="79"/>
                  </a:cubicBezTo>
                  <a:close/>
                  <a:moveTo>
                    <a:pt x="140" y="59"/>
                  </a:moveTo>
                  <a:cubicBezTo>
                    <a:pt x="140" y="50"/>
                    <a:pt x="136" y="34"/>
                    <a:pt x="124" y="34"/>
                  </a:cubicBezTo>
                  <a:cubicBezTo>
                    <a:pt x="113" y="34"/>
                    <a:pt x="111" y="52"/>
                    <a:pt x="111" y="61"/>
                  </a:cubicBezTo>
                  <a:cubicBezTo>
                    <a:pt x="111" y="68"/>
                    <a:pt x="113" y="84"/>
                    <a:pt x="124" y="84"/>
                  </a:cubicBezTo>
                  <a:cubicBezTo>
                    <a:pt x="136" y="84"/>
                    <a:pt x="140" y="68"/>
                    <a:pt x="140" y="59"/>
                  </a:cubicBezTo>
                  <a:close/>
                  <a:moveTo>
                    <a:pt x="167" y="11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1"/>
                    <a:pt x="179" y="11"/>
                    <a:pt x="179" y="11"/>
                  </a:cubicBezTo>
                  <a:cubicBezTo>
                    <a:pt x="167" y="11"/>
                    <a:pt x="167" y="11"/>
                    <a:pt x="167" y="11"/>
                  </a:cubicBezTo>
                  <a:cubicBezTo>
                    <a:pt x="167" y="11"/>
                    <a:pt x="167" y="11"/>
                    <a:pt x="167" y="11"/>
                  </a:cubicBezTo>
                  <a:close/>
                  <a:moveTo>
                    <a:pt x="168" y="92"/>
                  </a:moveTo>
                  <a:cubicBezTo>
                    <a:pt x="168" y="29"/>
                    <a:pt x="168" y="29"/>
                    <a:pt x="168" y="29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77" y="92"/>
                    <a:pt x="177" y="92"/>
                    <a:pt x="177" y="92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68" y="92"/>
                    <a:pt x="168" y="92"/>
                  </a:cubicBezTo>
                  <a:close/>
                  <a:moveTo>
                    <a:pt x="230" y="92"/>
                  </a:moveTo>
                  <a:cubicBezTo>
                    <a:pt x="226" y="93"/>
                    <a:pt x="224" y="93"/>
                    <a:pt x="221" y="93"/>
                  </a:cubicBezTo>
                  <a:cubicBezTo>
                    <a:pt x="208" y="93"/>
                    <a:pt x="203" y="88"/>
                    <a:pt x="203" y="77"/>
                  </a:cubicBezTo>
                  <a:cubicBezTo>
                    <a:pt x="203" y="36"/>
                    <a:pt x="203" y="36"/>
                    <a:pt x="203" y="36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203" y="29"/>
                    <a:pt x="203" y="29"/>
                    <a:pt x="203" y="29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30" y="29"/>
                    <a:pt x="230" y="29"/>
                    <a:pt x="230" y="29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12" y="36"/>
                    <a:pt x="212" y="36"/>
                    <a:pt x="212" y="36"/>
                  </a:cubicBezTo>
                  <a:cubicBezTo>
                    <a:pt x="212" y="75"/>
                    <a:pt x="212" y="75"/>
                    <a:pt x="212" y="75"/>
                  </a:cubicBezTo>
                  <a:cubicBezTo>
                    <a:pt x="212" y="81"/>
                    <a:pt x="215" y="84"/>
                    <a:pt x="222" y="84"/>
                  </a:cubicBezTo>
                  <a:cubicBezTo>
                    <a:pt x="226" y="84"/>
                    <a:pt x="226" y="84"/>
                    <a:pt x="230" y="84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30" y="92"/>
                    <a:pt x="230" y="92"/>
                    <a:pt x="230" y="92"/>
                  </a:cubicBezTo>
                  <a:close/>
                  <a:moveTo>
                    <a:pt x="273" y="92"/>
                  </a:moveTo>
                  <a:cubicBezTo>
                    <a:pt x="273" y="83"/>
                    <a:pt x="273" y="83"/>
                    <a:pt x="273" y="83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69" y="90"/>
                    <a:pt x="260" y="93"/>
                    <a:pt x="253" y="93"/>
                  </a:cubicBezTo>
                  <a:cubicBezTo>
                    <a:pt x="242" y="93"/>
                    <a:pt x="237" y="86"/>
                    <a:pt x="237" y="75"/>
                  </a:cubicBezTo>
                  <a:cubicBezTo>
                    <a:pt x="237" y="61"/>
                    <a:pt x="253" y="56"/>
                    <a:pt x="273" y="56"/>
                  </a:cubicBezTo>
                  <a:cubicBezTo>
                    <a:pt x="273" y="54"/>
                    <a:pt x="273" y="54"/>
                    <a:pt x="273" y="54"/>
                  </a:cubicBezTo>
                  <a:cubicBezTo>
                    <a:pt x="273" y="45"/>
                    <a:pt x="274" y="34"/>
                    <a:pt x="262" y="34"/>
                  </a:cubicBezTo>
                  <a:cubicBezTo>
                    <a:pt x="253" y="34"/>
                    <a:pt x="249" y="36"/>
                    <a:pt x="247" y="45"/>
                  </a:cubicBezTo>
                  <a:cubicBezTo>
                    <a:pt x="238" y="45"/>
                    <a:pt x="238" y="45"/>
                    <a:pt x="238" y="45"/>
                  </a:cubicBezTo>
                  <a:cubicBezTo>
                    <a:pt x="238" y="32"/>
                    <a:pt x="249" y="27"/>
                    <a:pt x="260" y="27"/>
                  </a:cubicBezTo>
                  <a:cubicBezTo>
                    <a:pt x="274" y="27"/>
                    <a:pt x="282" y="32"/>
                    <a:pt x="282" y="47"/>
                  </a:cubicBezTo>
                  <a:cubicBezTo>
                    <a:pt x="282" y="92"/>
                    <a:pt x="282" y="92"/>
                    <a:pt x="282" y="92"/>
                  </a:cubicBezTo>
                  <a:cubicBezTo>
                    <a:pt x="273" y="92"/>
                    <a:pt x="273" y="92"/>
                    <a:pt x="273" y="92"/>
                  </a:cubicBezTo>
                  <a:cubicBezTo>
                    <a:pt x="273" y="92"/>
                    <a:pt x="273" y="92"/>
                    <a:pt x="273" y="92"/>
                  </a:cubicBezTo>
                  <a:close/>
                  <a:moveTo>
                    <a:pt x="267" y="63"/>
                  </a:moveTo>
                  <a:cubicBezTo>
                    <a:pt x="260" y="63"/>
                    <a:pt x="247" y="66"/>
                    <a:pt x="247" y="75"/>
                  </a:cubicBezTo>
                  <a:cubicBezTo>
                    <a:pt x="247" y="81"/>
                    <a:pt x="251" y="84"/>
                    <a:pt x="256" y="84"/>
                  </a:cubicBezTo>
                  <a:cubicBezTo>
                    <a:pt x="262" y="84"/>
                    <a:pt x="269" y="81"/>
                    <a:pt x="271" y="75"/>
                  </a:cubicBezTo>
                  <a:cubicBezTo>
                    <a:pt x="273" y="70"/>
                    <a:pt x="273" y="68"/>
                    <a:pt x="273" y="63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3"/>
                    <a:pt x="267" y="63"/>
                    <a:pt x="267" y="63"/>
                  </a:cubicBezTo>
                  <a:close/>
                  <a:moveTo>
                    <a:pt x="303" y="92"/>
                  </a:moveTo>
                  <a:cubicBezTo>
                    <a:pt x="303" y="0"/>
                    <a:pt x="303" y="0"/>
                    <a:pt x="303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2" y="92"/>
                    <a:pt x="312" y="92"/>
                    <a:pt x="312" y="92"/>
                  </a:cubicBezTo>
                  <a:cubicBezTo>
                    <a:pt x="303" y="92"/>
                    <a:pt x="303" y="92"/>
                    <a:pt x="303" y="92"/>
                  </a:cubicBezTo>
                  <a:cubicBezTo>
                    <a:pt x="303" y="92"/>
                    <a:pt x="303" y="92"/>
                    <a:pt x="303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3889375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4076700" y="3629029"/>
              <a:ext cx="2130425" cy="442912"/>
            </a:xfrm>
            <a:custGeom>
              <a:avLst/>
              <a:gdLst>
                <a:gd name="T0" fmla="*/ 0 w 568"/>
                <a:gd name="T1" fmla="*/ 9 h 118"/>
                <a:gd name="T2" fmla="*/ 54 w 568"/>
                <a:gd name="T3" fmla="*/ 9 h 118"/>
                <a:gd name="T4" fmla="*/ 22 w 568"/>
                <a:gd name="T5" fmla="*/ 92 h 118"/>
                <a:gd name="T6" fmla="*/ 88 w 568"/>
                <a:gd name="T7" fmla="*/ 93 h 118"/>
                <a:gd name="T8" fmla="*/ 103 w 568"/>
                <a:gd name="T9" fmla="*/ 50 h 118"/>
                <a:gd name="T10" fmla="*/ 67 w 568"/>
                <a:gd name="T11" fmla="*/ 57 h 118"/>
                <a:gd name="T12" fmla="*/ 103 w 568"/>
                <a:gd name="T13" fmla="*/ 92 h 118"/>
                <a:gd name="T14" fmla="*/ 81 w 568"/>
                <a:gd name="T15" fmla="*/ 34 h 118"/>
                <a:gd name="T16" fmla="*/ 94 w 568"/>
                <a:gd name="T17" fmla="*/ 47 h 118"/>
                <a:gd name="T18" fmla="*/ 113 w 568"/>
                <a:gd name="T19" fmla="*/ 57 h 118"/>
                <a:gd name="T20" fmla="*/ 151 w 568"/>
                <a:gd name="T21" fmla="*/ 47 h 118"/>
                <a:gd name="T22" fmla="*/ 149 w 568"/>
                <a:gd name="T23" fmla="*/ 84 h 118"/>
                <a:gd name="T24" fmla="*/ 160 w 568"/>
                <a:gd name="T25" fmla="*/ 92 h 118"/>
                <a:gd name="T26" fmla="*/ 201 w 568"/>
                <a:gd name="T27" fmla="*/ 36 h 118"/>
                <a:gd name="T28" fmla="*/ 174 w 568"/>
                <a:gd name="T29" fmla="*/ 92 h 118"/>
                <a:gd name="T30" fmla="*/ 183 w 568"/>
                <a:gd name="T31" fmla="*/ 43 h 118"/>
                <a:gd name="T32" fmla="*/ 219 w 568"/>
                <a:gd name="T33" fmla="*/ 47 h 118"/>
                <a:gd name="T34" fmla="*/ 210 w 568"/>
                <a:gd name="T35" fmla="*/ 92 h 118"/>
                <a:gd name="T36" fmla="*/ 266 w 568"/>
                <a:gd name="T37" fmla="*/ 36 h 118"/>
                <a:gd name="T38" fmla="*/ 239 w 568"/>
                <a:gd name="T39" fmla="*/ 92 h 118"/>
                <a:gd name="T40" fmla="*/ 248 w 568"/>
                <a:gd name="T41" fmla="*/ 43 h 118"/>
                <a:gd name="T42" fmla="*/ 284 w 568"/>
                <a:gd name="T43" fmla="*/ 47 h 118"/>
                <a:gd name="T44" fmla="*/ 275 w 568"/>
                <a:gd name="T45" fmla="*/ 92 h 118"/>
                <a:gd name="T46" fmla="*/ 351 w 568"/>
                <a:gd name="T47" fmla="*/ 59 h 118"/>
                <a:gd name="T48" fmla="*/ 342 w 568"/>
                <a:gd name="T49" fmla="*/ 59 h 118"/>
                <a:gd name="T50" fmla="*/ 325 w 568"/>
                <a:gd name="T51" fmla="*/ 84 h 118"/>
                <a:gd name="T52" fmla="*/ 367 w 568"/>
                <a:gd name="T53" fmla="*/ 0 h 118"/>
                <a:gd name="T54" fmla="*/ 367 w 568"/>
                <a:gd name="T55" fmla="*/ 92 h 118"/>
                <a:gd name="T56" fmla="*/ 419 w 568"/>
                <a:gd name="T57" fmla="*/ 27 h 118"/>
                <a:gd name="T58" fmla="*/ 394 w 568"/>
                <a:gd name="T59" fmla="*/ 59 h 118"/>
                <a:gd name="T60" fmla="*/ 403 w 568"/>
                <a:gd name="T61" fmla="*/ 59 h 118"/>
                <a:gd name="T62" fmla="*/ 494 w 568"/>
                <a:gd name="T63" fmla="*/ 79 h 118"/>
                <a:gd name="T64" fmla="*/ 455 w 568"/>
                <a:gd name="T65" fmla="*/ 59 h 118"/>
                <a:gd name="T66" fmla="*/ 494 w 568"/>
                <a:gd name="T67" fmla="*/ 38 h 118"/>
                <a:gd name="T68" fmla="*/ 503 w 568"/>
                <a:gd name="T69" fmla="*/ 92 h 118"/>
                <a:gd name="T70" fmla="*/ 458 w 568"/>
                <a:gd name="T71" fmla="*/ 108 h 118"/>
                <a:gd name="T72" fmla="*/ 494 w 568"/>
                <a:gd name="T73" fmla="*/ 79 h 118"/>
                <a:gd name="T74" fmla="*/ 478 w 568"/>
                <a:gd name="T75" fmla="*/ 34 h 118"/>
                <a:gd name="T76" fmla="*/ 494 w 568"/>
                <a:gd name="T77" fmla="*/ 59 h 118"/>
                <a:gd name="T78" fmla="*/ 512 w 568"/>
                <a:gd name="T79" fmla="*/ 29 h 118"/>
                <a:gd name="T80" fmla="*/ 541 w 568"/>
                <a:gd name="T81" fmla="*/ 77 h 118"/>
                <a:gd name="T82" fmla="*/ 537 w 568"/>
                <a:gd name="T83" fmla="*/ 11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68" h="118">
                  <a:moveTo>
                    <a:pt x="22" y="92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22" y="92"/>
                    <a:pt x="22" y="92"/>
                    <a:pt x="22" y="92"/>
                  </a:cubicBezTo>
                  <a:close/>
                  <a:moveTo>
                    <a:pt x="103" y="92"/>
                  </a:moveTo>
                  <a:cubicBezTo>
                    <a:pt x="97" y="92"/>
                    <a:pt x="92" y="93"/>
                    <a:pt x="88" y="93"/>
                  </a:cubicBezTo>
                  <a:cubicBezTo>
                    <a:pt x="65" y="93"/>
                    <a:pt x="56" y="79"/>
                    <a:pt x="56" y="57"/>
                  </a:cubicBezTo>
                  <a:cubicBezTo>
                    <a:pt x="56" y="41"/>
                    <a:pt x="63" y="27"/>
                    <a:pt x="81" y="27"/>
                  </a:cubicBezTo>
                  <a:cubicBezTo>
                    <a:pt x="95" y="27"/>
                    <a:pt x="103" y="36"/>
                    <a:pt x="103" y="50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72"/>
                    <a:pt x="74" y="84"/>
                    <a:pt x="90" y="84"/>
                  </a:cubicBezTo>
                  <a:cubicBezTo>
                    <a:pt x="94" y="84"/>
                    <a:pt x="97" y="84"/>
                    <a:pt x="103" y="83"/>
                  </a:cubicBezTo>
                  <a:cubicBezTo>
                    <a:pt x="103" y="92"/>
                    <a:pt x="103" y="92"/>
                    <a:pt x="103" y="92"/>
                  </a:cubicBezTo>
                  <a:cubicBezTo>
                    <a:pt x="103" y="92"/>
                    <a:pt x="103" y="92"/>
                    <a:pt x="103" y="92"/>
                  </a:cubicBezTo>
                  <a:close/>
                  <a:moveTo>
                    <a:pt x="94" y="47"/>
                  </a:moveTo>
                  <a:cubicBezTo>
                    <a:pt x="94" y="39"/>
                    <a:pt x="88" y="34"/>
                    <a:pt x="81" y="34"/>
                  </a:cubicBezTo>
                  <a:cubicBezTo>
                    <a:pt x="74" y="34"/>
                    <a:pt x="68" y="39"/>
                    <a:pt x="67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lose/>
                  <a:moveTo>
                    <a:pt x="160" y="92"/>
                  </a:moveTo>
                  <a:cubicBezTo>
                    <a:pt x="155" y="92"/>
                    <a:pt x="151" y="93"/>
                    <a:pt x="146" y="93"/>
                  </a:cubicBezTo>
                  <a:cubicBezTo>
                    <a:pt x="124" y="93"/>
                    <a:pt x="113" y="79"/>
                    <a:pt x="113" y="57"/>
                  </a:cubicBezTo>
                  <a:cubicBezTo>
                    <a:pt x="113" y="41"/>
                    <a:pt x="121" y="27"/>
                    <a:pt x="140" y="27"/>
                  </a:cubicBezTo>
                  <a:cubicBezTo>
                    <a:pt x="153" y="27"/>
                    <a:pt x="162" y="34"/>
                    <a:pt x="162" y="47"/>
                  </a:cubicBezTo>
                  <a:cubicBezTo>
                    <a:pt x="151" y="47"/>
                    <a:pt x="151" y="47"/>
                    <a:pt x="151" y="47"/>
                  </a:cubicBezTo>
                  <a:cubicBezTo>
                    <a:pt x="151" y="39"/>
                    <a:pt x="147" y="34"/>
                    <a:pt x="139" y="34"/>
                  </a:cubicBezTo>
                  <a:cubicBezTo>
                    <a:pt x="128" y="34"/>
                    <a:pt x="124" y="47"/>
                    <a:pt x="124" y="56"/>
                  </a:cubicBezTo>
                  <a:cubicBezTo>
                    <a:pt x="124" y="72"/>
                    <a:pt x="131" y="84"/>
                    <a:pt x="149" y="84"/>
                  </a:cubicBezTo>
                  <a:cubicBezTo>
                    <a:pt x="153" y="84"/>
                    <a:pt x="156" y="84"/>
                    <a:pt x="160" y="84"/>
                  </a:cubicBezTo>
                  <a:cubicBezTo>
                    <a:pt x="160" y="92"/>
                    <a:pt x="160" y="92"/>
                    <a:pt x="160" y="92"/>
                  </a:cubicBezTo>
                  <a:cubicBezTo>
                    <a:pt x="160" y="92"/>
                    <a:pt x="160" y="92"/>
                    <a:pt x="160" y="92"/>
                  </a:cubicBezTo>
                  <a:close/>
                  <a:moveTo>
                    <a:pt x="210" y="92"/>
                  </a:moveTo>
                  <a:cubicBezTo>
                    <a:pt x="210" y="56"/>
                    <a:pt x="210" y="56"/>
                    <a:pt x="210" y="56"/>
                  </a:cubicBezTo>
                  <a:cubicBezTo>
                    <a:pt x="210" y="48"/>
                    <a:pt x="210" y="36"/>
                    <a:pt x="201" y="36"/>
                  </a:cubicBezTo>
                  <a:cubicBezTo>
                    <a:pt x="189" y="36"/>
                    <a:pt x="183" y="56"/>
                    <a:pt x="183" y="65"/>
                  </a:cubicBezTo>
                  <a:cubicBezTo>
                    <a:pt x="183" y="92"/>
                    <a:pt x="183" y="92"/>
                    <a:pt x="183" y="92"/>
                  </a:cubicBezTo>
                  <a:cubicBezTo>
                    <a:pt x="174" y="92"/>
                    <a:pt x="174" y="92"/>
                    <a:pt x="174" y="92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7" y="32"/>
                    <a:pt x="192" y="27"/>
                    <a:pt x="203" y="27"/>
                  </a:cubicBezTo>
                  <a:cubicBezTo>
                    <a:pt x="214" y="27"/>
                    <a:pt x="219" y="36"/>
                    <a:pt x="219" y="47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0" y="92"/>
                    <a:pt x="210" y="92"/>
                    <a:pt x="210" y="92"/>
                  </a:cubicBezTo>
                  <a:cubicBezTo>
                    <a:pt x="210" y="92"/>
                    <a:pt x="210" y="92"/>
                    <a:pt x="210" y="92"/>
                  </a:cubicBezTo>
                  <a:close/>
                  <a:moveTo>
                    <a:pt x="275" y="92"/>
                  </a:moveTo>
                  <a:cubicBezTo>
                    <a:pt x="275" y="56"/>
                    <a:pt x="275" y="56"/>
                    <a:pt x="275" y="56"/>
                  </a:cubicBezTo>
                  <a:cubicBezTo>
                    <a:pt x="275" y="48"/>
                    <a:pt x="277" y="36"/>
                    <a:pt x="266" y="36"/>
                  </a:cubicBezTo>
                  <a:cubicBezTo>
                    <a:pt x="254" y="36"/>
                    <a:pt x="248" y="56"/>
                    <a:pt x="248" y="65"/>
                  </a:cubicBezTo>
                  <a:cubicBezTo>
                    <a:pt x="248" y="92"/>
                    <a:pt x="248" y="92"/>
                    <a:pt x="248" y="92"/>
                  </a:cubicBezTo>
                  <a:cubicBezTo>
                    <a:pt x="239" y="92"/>
                    <a:pt x="239" y="92"/>
                    <a:pt x="239" y="92"/>
                  </a:cubicBezTo>
                  <a:cubicBezTo>
                    <a:pt x="239" y="29"/>
                    <a:pt x="239" y="29"/>
                    <a:pt x="239" y="29"/>
                  </a:cubicBezTo>
                  <a:cubicBezTo>
                    <a:pt x="248" y="29"/>
                    <a:pt x="248" y="29"/>
                    <a:pt x="248" y="29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52" y="32"/>
                    <a:pt x="257" y="27"/>
                    <a:pt x="268" y="27"/>
                  </a:cubicBezTo>
                  <a:cubicBezTo>
                    <a:pt x="279" y="27"/>
                    <a:pt x="284" y="36"/>
                    <a:pt x="284" y="47"/>
                  </a:cubicBezTo>
                  <a:cubicBezTo>
                    <a:pt x="284" y="92"/>
                    <a:pt x="284" y="92"/>
                    <a:pt x="284" y="92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5" y="92"/>
                    <a:pt x="275" y="92"/>
                    <a:pt x="275" y="92"/>
                  </a:cubicBezTo>
                  <a:close/>
                  <a:moveTo>
                    <a:pt x="300" y="59"/>
                  </a:moveTo>
                  <a:cubicBezTo>
                    <a:pt x="300" y="43"/>
                    <a:pt x="306" y="27"/>
                    <a:pt x="325" y="27"/>
                  </a:cubicBezTo>
                  <a:cubicBezTo>
                    <a:pt x="345" y="27"/>
                    <a:pt x="351" y="43"/>
                    <a:pt x="351" y="59"/>
                  </a:cubicBezTo>
                  <a:cubicBezTo>
                    <a:pt x="351" y="77"/>
                    <a:pt x="345" y="93"/>
                    <a:pt x="325" y="93"/>
                  </a:cubicBezTo>
                  <a:cubicBezTo>
                    <a:pt x="306" y="93"/>
                    <a:pt x="300" y="77"/>
                    <a:pt x="300" y="59"/>
                  </a:cubicBezTo>
                  <a:close/>
                  <a:moveTo>
                    <a:pt x="342" y="59"/>
                  </a:moveTo>
                  <a:cubicBezTo>
                    <a:pt x="342" y="50"/>
                    <a:pt x="338" y="34"/>
                    <a:pt x="325" y="34"/>
                  </a:cubicBezTo>
                  <a:cubicBezTo>
                    <a:pt x="313" y="34"/>
                    <a:pt x="309" y="50"/>
                    <a:pt x="309" y="59"/>
                  </a:cubicBezTo>
                  <a:cubicBezTo>
                    <a:pt x="309" y="70"/>
                    <a:pt x="313" y="84"/>
                    <a:pt x="325" y="84"/>
                  </a:cubicBezTo>
                  <a:cubicBezTo>
                    <a:pt x="338" y="84"/>
                    <a:pt x="342" y="70"/>
                    <a:pt x="342" y="59"/>
                  </a:cubicBezTo>
                  <a:close/>
                  <a:moveTo>
                    <a:pt x="367" y="92"/>
                  </a:moveTo>
                  <a:cubicBezTo>
                    <a:pt x="367" y="0"/>
                    <a:pt x="367" y="0"/>
                    <a:pt x="367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67" y="92"/>
                    <a:pt x="367" y="92"/>
                    <a:pt x="367" y="92"/>
                  </a:cubicBezTo>
                  <a:cubicBezTo>
                    <a:pt x="367" y="92"/>
                    <a:pt x="367" y="92"/>
                    <a:pt x="367" y="92"/>
                  </a:cubicBezTo>
                  <a:close/>
                  <a:moveTo>
                    <a:pt x="394" y="59"/>
                  </a:moveTo>
                  <a:cubicBezTo>
                    <a:pt x="394" y="43"/>
                    <a:pt x="399" y="27"/>
                    <a:pt x="419" y="27"/>
                  </a:cubicBezTo>
                  <a:cubicBezTo>
                    <a:pt x="439" y="27"/>
                    <a:pt x="444" y="43"/>
                    <a:pt x="444" y="59"/>
                  </a:cubicBezTo>
                  <a:cubicBezTo>
                    <a:pt x="444" y="77"/>
                    <a:pt x="439" y="93"/>
                    <a:pt x="419" y="93"/>
                  </a:cubicBezTo>
                  <a:cubicBezTo>
                    <a:pt x="399" y="93"/>
                    <a:pt x="394" y="77"/>
                    <a:pt x="394" y="59"/>
                  </a:cubicBezTo>
                  <a:close/>
                  <a:moveTo>
                    <a:pt x="435" y="59"/>
                  </a:moveTo>
                  <a:cubicBezTo>
                    <a:pt x="435" y="50"/>
                    <a:pt x="431" y="34"/>
                    <a:pt x="419" y="34"/>
                  </a:cubicBezTo>
                  <a:cubicBezTo>
                    <a:pt x="406" y="34"/>
                    <a:pt x="403" y="50"/>
                    <a:pt x="403" y="59"/>
                  </a:cubicBezTo>
                  <a:cubicBezTo>
                    <a:pt x="403" y="70"/>
                    <a:pt x="406" y="84"/>
                    <a:pt x="419" y="84"/>
                  </a:cubicBezTo>
                  <a:cubicBezTo>
                    <a:pt x="431" y="84"/>
                    <a:pt x="435" y="70"/>
                    <a:pt x="435" y="59"/>
                  </a:cubicBezTo>
                  <a:close/>
                  <a:moveTo>
                    <a:pt x="494" y="79"/>
                  </a:moveTo>
                  <a:cubicBezTo>
                    <a:pt x="494" y="79"/>
                    <a:pt x="494" y="79"/>
                    <a:pt x="494" y="79"/>
                  </a:cubicBezTo>
                  <a:cubicBezTo>
                    <a:pt x="491" y="86"/>
                    <a:pt x="485" y="92"/>
                    <a:pt x="476" y="92"/>
                  </a:cubicBezTo>
                  <a:cubicBezTo>
                    <a:pt x="460" y="92"/>
                    <a:pt x="455" y="74"/>
                    <a:pt x="455" y="59"/>
                  </a:cubicBezTo>
                  <a:cubicBezTo>
                    <a:pt x="455" y="47"/>
                    <a:pt x="460" y="27"/>
                    <a:pt x="476" y="27"/>
                  </a:cubicBezTo>
                  <a:cubicBezTo>
                    <a:pt x="485" y="27"/>
                    <a:pt x="491" y="30"/>
                    <a:pt x="494" y="38"/>
                  </a:cubicBezTo>
                  <a:cubicBezTo>
                    <a:pt x="494" y="38"/>
                    <a:pt x="494" y="38"/>
                    <a:pt x="494" y="38"/>
                  </a:cubicBezTo>
                  <a:cubicBezTo>
                    <a:pt x="494" y="29"/>
                    <a:pt x="494" y="29"/>
                    <a:pt x="494" y="29"/>
                  </a:cubicBezTo>
                  <a:cubicBezTo>
                    <a:pt x="503" y="29"/>
                    <a:pt x="503" y="29"/>
                    <a:pt x="503" y="29"/>
                  </a:cubicBezTo>
                  <a:cubicBezTo>
                    <a:pt x="503" y="92"/>
                    <a:pt x="503" y="92"/>
                    <a:pt x="503" y="92"/>
                  </a:cubicBezTo>
                  <a:cubicBezTo>
                    <a:pt x="503" y="110"/>
                    <a:pt x="494" y="118"/>
                    <a:pt x="476" y="118"/>
                  </a:cubicBezTo>
                  <a:cubicBezTo>
                    <a:pt x="469" y="118"/>
                    <a:pt x="466" y="118"/>
                    <a:pt x="458" y="117"/>
                  </a:cubicBezTo>
                  <a:cubicBezTo>
                    <a:pt x="458" y="108"/>
                    <a:pt x="458" y="108"/>
                    <a:pt x="458" y="108"/>
                  </a:cubicBezTo>
                  <a:cubicBezTo>
                    <a:pt x="464" y="110"/>
                    <a:pt x="469" y="111"/>
                    <a:pt x="474" y="111"/>
                  </a:cubicBezTo>
                  <a:cubicBezTo>
                    <a:pt x="489" y="111"/>
                    <a:pt x="494" y="104"/>
                    <a:pt x="494" y="90"/>
                  </a:cubicBezTo>
                  <a:cubicBezTo>
                    <a:pt x="494" y="79"/>
                    <a:pt x="494" y="79"/>
                    <a:pt x="494" y="79"/>
                  </a:cubicBezTo>
                  <a:cubicBezTo>
                    <a:pt x="494" y="79"/>
                    <a:pt x="494" y="79"/>
                    <a:pt x="494" y="79"/>
                  </a:cubicBezTo>
                  <a:close/>
                  <a:moveTo>
                    <a:pt x="494" y="59"/>
                  </a:moveTo>
                  <a:cubicBezTo>
                    <a:pt x="494" y="50"/>
                    <a:pt x="491" y="34"/>
                    <a:pt x="478" y="34"/>
                  </a:cubicBezTo>
                  <a:cubicBezTo>
                    <a:pt x="467" y="34"/>
                    <a:pt x="466" y="52"/>
                    <a:pt x="466" y="61"/>
                  </a:cubicBezTo>
                  <a:cubicBezTo>
                    <a:pt x="466" y="68"/>
                    <a:pt x="467" y="84"/>
                    <a:pt x="478" y="84"/>
                  </a:cubicBezTo>
                  <a:cubicBezTo>
                    <a:pt x="491" y="84"/>
                    <a:pt x="494" y="68"/>
                    <a:pt x="494" y="59"/>
                  </a:cubicBezTo>
                  <a:close/>
                  <a:moveTo>
                    <a:pt x="528" y="117"/>
                  </a:moveTo>
                  <a:cubicBezTo>
                    <a:pt x="537" y="92"/>
                    <a:pt x="537" y="92"/>
                    <a:pt x="537" y="92"/>
                  </a:cubicBezTo>
                  <a:cubicBezTo>
                    <a:pt x="512" y="29"/>
                    <a:pt x="512" y="29"/>
                    <a:pt x="512" y="29"/>
                  </a:cubicBezTo>
                  <a:cubicBezTo>
                    <a:pt x="523" y="29"/>
                    <a:pt x="523" y="29"/>
                    <a:pt x="523" y="29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59" y="29"/>
                    <a:pt x="559" y="29"/>
                    <a:pt x="559" y="29"/>
                  </a:cubicBezTo>
                  <a:cubicBezTo>
                    <a:pt x="568" y="29"/>
                    <a:pt x="568" y="29"/>
                    <a:pt x="568" y="29"/>
                  </a:cubicBezTo>
                  <a:cubicBezTo>
                    <a:pt x="537" y="117"/>
                    <a:pt x="537" y="117"/>
                    <a:pt x="537" y="117"/>
                  </a:cubicBezTo>
                  <a:cubicBezTo>
                    <a:pt x="528" y="117"/>
                    <a:pt x="528" y="117"/>
                    <a:pt x="528" y="117"/>
                  </a:cubicBezTo>
                  <a:cubicBezTo>
                    <a:pt x="528" y="117"/>
                    <a:pt x="528" y="117"/>
                    <a:pt x="528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6375400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12"/>
            <p:cNvSpPr>
              <a:spLocks noEditPoints="1"/>
            </p:cNvSpPr>
            <p:nvPr userDrawn="1"/>
          </p:nvSpPr>
          <p:spPr bwMode="auto">
            <a:xfrm>
              <a:off x="6589713" y="3621091"/>
              <a:ext cx="2020888" cy="458787"/>
            </a:xfrm>
            <a:custGeom>
              <a:avLst/>
              <a:gdLst>
                <a:gd name="T0" fmla="*/ 65 w 539"/>
                <a:gd name="T1" fmla="*/ 47 h 122"/>
                <a:gd name="T2" fmla="*/ 54 w 539"/>
                <a:gd name="T3" fmla="*/ 47 h 122"/>
                <a:gd name="T4" fmla="*/ 33 w 539"/>
                <a:gd name="T5" fmla="*/ 86 h 122"/>
                <a:gd name="T6" fmla="*/ 81 w 539"/>
                <a:gd name="T7" fmla="*/ 31 h 122"/>
                <a:gd name="T8" fmla="*/ 90 w 539"/>
                <a:gd name="T9" fmla="*/ 41 h 122"/>
                <a:gd name="T10" fmla="*/ 106 w 539"/>
                <a:gd name="T11" fmla="*/ 95 h 122"/>
                <a:gd name="T12" fmla="*/ 90 w 539"/>
                <a:gd name="T13" fmla="*/ 122 h 122"/>
                <a:gd name="T14" fmla="*/ 119 w 539"/>
                <a:gd name="T15" fmla="*/ 59 h 122"/>
                <a:gd name="T16" fmla="*/ 105 w 539"/>
                <a:gd name="T17" fmla="*/ 86 h 122"/>
                <a:gd name="T18" fmla="*/ 171 w 539"/>
                <a:gd name="T19" fmla="*/ 95 h 122"/>
                <a:gd name="T20" fmla="*/ 187 w 539"/>
                <a:gd name="T21" fmla="*/ 52 h 122"/>
                <a:gd name="T22" fmla="*/ 149 w 539"/>
                <a:gd name="T23" fmla="*/ 59 h 122"/>
                <a:gd name="T24" fmla="*/ 185 w 539"/>
                <a:gd name="T25" fmla="*/ 94 h 122"/>
                <a:gd name="T26" fmla="*/ 164 w 539"/>
                <a:gd name="T27" fmla="*/ 36 h 122"/>
                <a:gd name="T28" fmla="*/ 176 w 539"/>
                <a:gd name="T29" fmla="*/ 49 h 122"/>
                <a:gd name="T30" fmla="*/ 211 w 539"/>
                <a:gd name="T31" fmla="*/ 31 h 122"/>
                <a:gd name="T32" fmla="*/ 232 w 539"/>
                <a:gd name="T33" fmla="*/ 29 h 122"/>
                <a:gd name="T34" fmla="*/ 211 w 539"/>
                <a:gd name="T35" fmla="*/ 94 h 122"/>
                <a:gd name="T36" fmla="*/ 273 w 539"/>
                <a:gd name="T37" fmla="*/ 94 h 122"/>
                <a:gd name="T38" fmla="*/ 254 w 539"/>
                <a:gd name="T39" fmla="*/ 95 h 122"/>
                <a:gd name="T40" fmla="*/ 273 w 539"/>
                <a:gd name="T41" fmla="*/ 56 h 122"/>
                <a:gd name="T42" fmla="*/ 239 w 539"/>
                <a:gd name="T43" fmla="*/ 47 h 122"/>
                <a:gd name="T44" fmla="*/ 282 w 539"/>
                <a:gd name="T45" fmla="*/ 94 h 122"/>
                <a:gd name="T46" fmla="*/ 268 w 539"/>
                <a:gd name="T47" fmla="*/ 65 h 122"/>
                <a:gd name="T48" fmla="*/ 272 w 539"/>
                <a:gd name="T49" fmla="*/ 77 h 122"/>
                <a:gd name="T50" fmla="*/ 268 w 539"/>
                <a:gd name="T51" fmla="*/ 65 h 122"/>
                <a:gd name="T52" fmla="*/ 308 w 539"/>
                <a:gd name="T53" fmla="*/ 79 h 122"/>
                <a:gd name="T54" fmla="*/ 297 w 539"/>
                <a:gd name="T55" fmla="*/ 31 h 122"/>
                <a:gd name="T56" fmla="*/ 317 w 539"/>
                <a:gd name="T57" fmla="*/ 9 h 122"/>
                <a:gd name="T58" fmla="*/ 333 w 539"/>
                <a:gd name="T59" fmla="*/ 38 h 122"/>
                <a:gd name="T60" fmla="*/ 326 w 539"/>
                <a:gd name="T61" fmla="*/ 86 h 122"/>
                <a:gd name="T62" fmla="*/ 333 w 539"/>
                <a:gd name="T63" fmla="*/ 94 h 122"/>
                <a:gd name="T64" fmla="*/ 356 w 539"/>
                <a:gd name="T65" fmla="*/ 2 h 122"/>
                <a:gd name="T66" fmla="*/ 345 w 539"/>
                <a:gd name="T67" fmla="*/ 13 h 122"/>
                <a:gd name="T68" fmla="*/ 354 w 539"/>
                <a:gd name="T69" fmla="*/ 31 h 122"/>
                <a:gd name="T70" fmla="*/ 345 w 539"/>
                <a:gd name="T71" fmla="*/ 94 h 122"/>
                <a:gd name="T72" fmla="*/ 423 w 539"/>
                <a:gd name="T73" fmla="*/ 61 h 122"/>
                <a:gd name="T74" fmla="*/ 414 w 539"/>
                <a:gd name="T75" fmla="*/ 61 h 122"/>
                <a:gd name="T76" fmla="*/ 397 w 539"/>
                <a:gd name="T77" fmla="*/ 86 h 122"/>
                <a:gd name="T78" fmla="*/ 475 w 539"/>
                <a:gd name="T79" fmla="*/ 58 h 122"/>
                <a:gd name="T80" fmla="*/ 448 w 539"/>
                <a:gd name="T81" fmla="*/ 94 h 122"/>
                <a:gd name="T82" fmla="*/ 448 w 539"/>
                <a:gd name="T83" fmla="*/ 31 h 122"/>
                <a:gd name="T84" fmla="*/ 467 w 539"/>
                <a:gd name="T85" fmla="*/ 29 h 122"/>
                <a:gd name="T86" fmla="*/ 475 w 539"/>
                <a:gd name="T87" fmla="*/ 94 h 122"/>
                <a:gd name="T88" fmla="*/ 514 w 539"/>
                <a:gd name="T89" fmla="*/ 86 h 122"/>
                <a:gd name="T90" fmla="*/ 512 w 539"/>
                <a:gd name="T91" fmla="*/ 63 h 122"/>
                <a:gd name="T92" fmla="*/ 536 w 539"/>
                <a:gd name="T93" fmla="*/ 31 h 122"/>
                <a:gd name="T94" fmla="*/ 507 w 539"/>
                <a:gd name="T95" fmla="*/ 45 h 122"/>
                <a:gd name="T96" fmla="*/ 539 w 539"/>
                <a:gd name="T97" fmla="*/ 76 h 122"/>
                <a:gd name="T98" fmla="*/ 498 w 539"/>
                <a:gd name="T99" fmla="*/ 8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9" h="122">
                  <a:moveTo>
                    <a:pt x="0" y="47"/>
                  </a:moveTo>
                  <a:cubicBezTo>
                    <a:pt x="0" y="25"/>
                    <a:pt x="6" y="0"/>
                    <a:pt x="33" y="0"/>
                  </a:cubicBezTo>
                  <a:cubicBezTo>
                    <a:pt x="60" y="0"/>
                    <a:pt x="65" y="25"/>
                    <a:pt x="65" y="47"/>
                  </a:cubicBezTo>
                  <a:cubicBezTo>
                    <a:pt x="65" y="68"/>
                    <a:pt x="60" y="95"/>
                    <a:pt x="33" y="95"/>
                  </a:cubicBezTo>
                  <a:cubicBezTo>
                    <a:pt x="6" y="95"/>
                    <a:pt x="0" y="68"/>
                    <a:pt x="0" y="47"/>
                  </a:cubicBezTo>
                  <a:close/>
                  <a:moveTo>
                    <a:pt x="54" y="47"/>
                  </a:moveTo>
                  <a:cubicBezTo>
                    <a:pt x="54" y="32"/>
                    <a:pt x="52" y="9"/>
                    <a:pt x="33" y="9"/>
                  </a:cubicBezTo>
                  <a:cubicBezTo>
                    <a:pt x="13" y="9"/>
                    <a:pt x="11" y="32"/>
                    <a:pt x="11" y="47"/>
                  </a:cubicBezTo>
                  <a:cubicBezTo>
                    <a:pt x="11" y="61"/>
                    <a:pt x="13" y="86"/>
                    <a:pt x="33" y="86"/>
                  </a:cubicBezTo>
                  <a:cubicBezTo>
                    <a:pt x="52" y="86"/>
                    <a:pt x="54" y="61"/>
                    <a:pt x="54" y="47"/>
                  </a:cubicBezTo>
                  <a:close/>
                  <a:moveTo>
                    <a:pt x="81" y="122"/>
                  </a:moveTo>
                  <a:cubicBezTo>
                    <a:pt x="81" y="31"/>
                    <a:pt x="81" y="31"/>
                    <a:pt x="81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2" y="32"/>
                    <a:pt x="99" y="29"/>
                    <a:pt x="106" y="29"/>
                  </a:cubicBezTo>
                  <a:cubicBezTo>
                    <a:pt x="126" y="29"/>
                    <a:pt x="128" y="47"/>
                    <a:pt x="128" y="61"/>
                  </a:cubicBezTo>
                  <a:cubicBezTo>
                    <a:pt x="128" y="76"/>
                    <a:pt x="124" y="95"/>
                    <a:pt x="106" y="95"/>
                  </a:cubicBezTo>
                  <a:cubicBezTo>
                    <a:pt x="99" y="95"/>
                    <a:pt x="94" y="90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81" y="122"/>
                    <a:pt x="81" y="122"/>
                    <a:pt x="81" y="122"/>
                  </a:cubicBezTo>
                  <a:cubicBezTo>
                    <a:pt x="81" y="122"/>
                    <a:pt x="81" y="122"/>
                    <a:pt x="81" y="122"/>
                  </a:cubicBezTo>
                  <a:close/>
                  <a:moveTo>
                    <a:pt x="119" y="59"/>
                  </a:moveTo>
                  <a:cubicBezTo>
                    <a:pt x="119" y="50"/>
                    <a:pt x="117" y="36"/>
                    <a:pt x="105" y="36"/>
                  </a:cubicBezTo>
                  <a:cubicBezTo>
                    <a:pt x="94" y="36"/>
                    <a:pt x="90" y="52"/>
                    <a:pt x="90" y="61"/>
                  </a:cubicBezTo>
                  <a:cubicBezTo>
                    <a:pt x="90" y="70"/>
                    <a:pt x="94" y="86"/>
                    <a:pt x="105" y="86"/>
                  </a:cubicBezTo>
                  <a:cubicBezTo>
                    <a:pt x="117" y="86"/>
                    <a:pt x="119" y="68"/>
                    <a:pt x="119" y="59"/>
                  </a:cubicBezTo>
                  <a:close/>
                  <a:moveTo>
                    <a:pt x="185" y="94"/>
                  </a:moveTo>
                  <a:cubicBezTo>
                    <a:pt x="180" y="94"/>
                    <a:pt x="175" y="95"/>
                    <a:pt x="171" y="95"/>
                  </a:cubicBezTo>
                  <a:cubicBezTo>
                    <a:pt x="148" y="95"/>
                    <a:pt x="140" y="81"/>
                    <a:pt x="140" y="59"/>
                  </a:cubicBezTo>
                  <a:cubicBezTo>
                    <a:pt x="140" y="43"/>
                    <a:pt x="146" y="29"/>
                    <a:pt x="164" y="29"/>
                  </a:cubicBezTo>
                  <a:cubicBezTo>
                    <a:pt x="178" y="29"/>
                    <a:pt x="187" y="38"/>
                    <a:pt x="187" y="52"/>
                  </a:cubicBezTo>
                  <a:cubicBezTo>
                    <a:pt x="187" y="56"/>
                    <a:pt x="187" y="56"/>
                    <a:pt x="187" y="56"/>
                  </a:cubicBezTo>
                  <a:cubicBezTo>
                    <a:pt x="149" y="56"/>
                    <a:pt x="149" y="56"/>
                    <a:pt x="149" y="56"/>
                  </a:cubicBezTo>
                  <a:cubicBezTo>
                    <a:pt x="149" y="59"/>
                    <a:pt x="149" y="59"/>
                    <a:pt x="149" y="59"/>
                  </a:cubicBezTo>
                  <a:cubicBezTo>
                    <a:pt x="149" y="74"/>
                    <a:pt x="157" y="86"/>
                    <a:pt x="173" y="86"/>
                  </a:cubicBezTo>
                  <a:cubicBezTo>
                    <a:pt x="176" y="86"/>
                    <a:pt x="180" y="86"/>
                    <a:pt x="185" y="85"/>
                  </a:cubicBezTo>
                  <a:cubicBezTo>
                    <a:pt x="185" y="94"/>
                    <a:pt x="185" y="94"/>
                    <a:pt x="185" y="94"/>
                  </a:cubicBezTo>
                  <a:cubicBezTo>
                    <a:pt x="185" y="94"/>
                    <a:pt x="185" y="94"/>
                    <a:pt x="185" y="94"/>
                  </a:cubicBezTo>
                  <a:close/>
                  <a:moveTo>
                    <a:pt x="176" y="49"/>
                  </a:moveTo>
                  <a:cubicBezTo>
                    <a:pt x="176" y="41"/>
                    <a:pt x="171" y="36"/>
                    <a:pt x="164" y="36"/>
                  </a:cubicBezTo>
                  <a:cubicBezTo>
                    <a:pt x="157" y="36"/>
                    <a:pt x="151" y="41"/>
                    <a:pt x="151" y="49"/>
                  </a:cubicBezTo>
                  <a:cubicBezTo>
                    <a:pt x="176" y="49"/>
                    <a:pt x="176" y="49"/>
                    <a:pt x="176" y="49"/>
                  </a:cubicBezTo>
                  <a:cubicBezTo>
                    <a:pt x="176" y="49"/>
                    <a:pt x="176" y="49"/>
                    <a:pt x="176" y="49"/>
                  </a:cubicBezTo>
                  <a:close/>
                  <a:moveTo>
                    <a:pt x="202" y="94"/>
                  </a:moveTo>
                  <a:cubicBezTo>
                    <a:pt x="202" y="31"/>
                    <a:pt x="202" y="31"/>
                    <a:pt x="202" y="31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4" y="32"/>
                    <a:pt x="221" y="29"/>
                    <a:pt x="232" y="29"/>
                  </a:cubicBezTo>
                  <a:cubicBezTo>
                    <a:pt x="232" y="38"/>
                    <a:pt x="232" y="38"/>
                    <a:pt x="232" y="38"/>
                  </a:cubicBezTo>
                  <a:cubicBezTo>
                    <a:pt x="216" y="38"/>
                    <a:pt x="211" y="54"/>
                    <a:pt x="211" y="67"/>
                  </a:cubicBezTo>
                  <a:cubicBezTo>
                    <a:pt x="211" y="94"/>
                    <a:pt x="211" y="94"/>
                    <a:pt x="211" y="94"/>
                  </a:cubicBezTo>
                  <a:cubicBezTo>
                    <a:pt x="202" y="94"/>
                    <a:pt x="202" y="94"/>
                    <a:pt x="202" y="94"/>
                  </a:cubicBezTo>
                  <a:cubicBezTo>
                    <a:pt x="202" y="94"/>
                    <a:pt x="202" y="94"/>
                    <a:pt x="202" y="94"/>
                  </a:cubicBezTo>
                  <a:close/>
                  <a:moveTo>
                    <a:pt x="273" y="94"/>
                  </a:moveTo>
                  <a:cubicBezTo>
                    <a:pt x="273" y="85"/>
                    <a:pt x="273" y="85"/>
                    <a:pt x="273" y="85"/>
                  </a:cubicBezTo>
                  <a:cubicBezTo>
                    <a:pt x="273" y="85"/>
                    <a:pt x="273" y="85"/>
                    <a:pt x="273" y="85"/>
                  </a:cubicBezTo>
                  <a:cubicBezTo>
                    <a:pt x="270" y="92"/>
                    <a:pt x="261" y="95"/>
                    <a:pt x="254" y="95"/>
                  </a:cubicBezTo>
                  <a:cubicBezTo>
                    <a:pt x="243" y="95"/>
                    <a:pt x="238" y="88"/>
                    <a:pt x="238" y="77"/>
                  </a:cubicBezTo>
                  <a:cubicBezTo>
                    <a:pt x="238" y="63"/>
                    <a:pt x="254" y="58"/>
                    <a:pt x="273" y="58"/>
                  </a:cubicBezTo>
                  <a:cubicBezTo>
                    <a:pt x="273" y="56"/>
                    <a:pt x="273" y="56"/>
                    <a:pt x="273" y="56"/>
                  </a:cubicBezTo>
                  <a:cubicBezTo>
                    <a:pt x="273" y="47"/>
                    <a:pt x="273" y="36"/>
                    <a:pt x="261" y="36"/>
                  </a:cubicBezTo>
                  <a:cubicBezTo>
                    <a:pt x="254" y="36"/>
                    <a:pt x="250" y="38"/>
                    <a:pt x="248" y="47"/>
                  </a:cubicBezTo>
                  <a:cubicBezTo>
                    <a:pt x="239" y="47"/>
                    <a:pt x="239" y="47"/>
                    <a:pt x="239" y="47"/>
                  </a:cubicBezTo>
                  <a:cubicBezTo>
                    <a:pt x="239" y="34"/>
                    <a:pt x="250" y="29"/>
                    <a:pt x="261" y="29"/>
                  </a:cubicBezTo>
                  <a:cubicBezTo>
                    <a:pt x="275" y="29"/>
                    <a:pt x="282" y="34"/>
                    <a:pt x="282" y="49"/>
                  </a:cubicBezTo>
                  <a:cubicBezTo>
                    <a:pt x="282" y="94"/>
                    <a:pt x="282" y="94"/>
                    <a:pt x="282" y="94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lose/>
                  <a:moveTo>
                    <a:pt x="268" y="65"/>
                  </a:moveTo>
                  <a:cubicBezTo>
                    <a:pt x="261" y="65"/>
                    <a:pt x="248" y="68"/>
                    <a:pt x="248" y="77"/>
                  </a:cubicBezTo>
                  <a:cubicBezTo>
                    <a:pt x="248" y="83"/>
                    <a:pt x="252" y="86"/>
                    <a:pt x="255" y="86"/>
                  </a:cubicBezTo>
                  <a:cubicBezTo>
                    <a:pt x="263" y="86"/>
                    <a:pt x="268" y="83"/>
                    <a:pt x="272" y="77"/>
                  </a:cubicBezTo>
                  <a:cubicBezTo>
                    <a:pt x="273" y="72"/>
                    <a:pt x="273" y="70"/>
                    <a:pt x="273" y="65"/>
                  </a:cubicBezTo>
                  <a:cubicBezTo>
                    <a:pt x="268" y="65"/>
                    <a:pt x="268" y="65"/>
                    <a:pt x="268" y="65"/>
                  </a:cubicBezTo>
                  <a:cubicBezTo>
                    <a:pt x="268" y="65"/>
                    <a:pt x="268" y="65"/>
                    <a:pt x="268" y="65"/>
                  </a:cubicBezTo>
                  <a:close/>
                  <a:moveTo>
                    <a:pt x="333" y="94"/>
                  </a:moveTo>
                  <a:cubicBezTo>
                    <a:pt x="329" y="95"/>
                    <a:pt x="327" y="95"/>
                    <a:pt x="324" y="95"/>
                  </a:cubicBezTo>
                  <a:cubicBezTo>
                    <a:pt x="313" y="95"/>
                    <a:pt x="308" y="90"/>
                    <a:pt x="308" y="79"/>
                  </a:cubicBezTo>
                  <a:cubicBezTo>
                    <a:pt x="308" y="38"/>
                    <a:pt x="308" y="38"/>
                    <a:pt x="308" y="38"/>
                  </a:cubicBezTo>
                  <a:cubicBezTo>
                    <a:pt x="297" y="38"/>
                    <a:pt x="297" y="38"/>
                    <a:pt x="297" y="38"/>
                  </a:cubicBezTo>
                  <a:cubicBezTo>
                    <a:pt x="297" y="31"/>
                    <a:pt x="297" y="31"/>
                    <a:pt x="297" y="31"/>
                  </a:cubicBezTo>
                  <a:cubicBezTo>
                    <a:pt x="308" y="31"/>
                    <a:pt x="308" y="31"/>
                    <a:pt x="308" y="31"/>
                  </a:cubicBezTo>
                  <a:cubicBezTo>
                    <a:pt x="308" y="14"/>
                    <a:pt x="308" y="14"/>
                    <a:pt x="308" y="14"/>
                  </a:cubicBezTo>
                  <a:cubicBezTo>
                    <a:pt x="317" y="9"/>
                    <a:pt x="317" y="9"/>
                    <a:pt x="317" y="9"/>
                  </a:cubicBezTo>
                  <a:cubicBezTo>
                    <a:pt x="317" y="31"/>
                    <a:pt x="317" y="31"/>
                    <a:pt x="317" y="31"/>
                  </a:cubicBezTo>
                  <a:cubicBezTo>
                    <a:pt x="333" y="31"/>
                    <a:pt x="333" y="31"/>
                    <a:pt x="333" y="31"/>
                  </a:cubicBezTo>
                  <a:cubicBezTo>
                    <a:pt x="333" y="38"/>
                    <a:pt x="333" y="38"/>
                    <a:pt x="333" y="38"/>
                  </a:cubicBezTo>
                  <a:cubicBezTo>
                    <a:pt x="317" y="38"/>
                    <a:pt x="317" y="38"/>
                    <a:pt x="317" y="38"/>
                  </a:cubicBezTo>
                  <a:cubicBezTo>
                    <a:pt x="317" y="77"/>
                    <a:pt x="317" y="77"/>
                    <a:pt x="317" y="77"/>
                  </a:cubicBezTo>
                  <a:cubicBezTo>
                    <a:pt x="317" y="83"/>
                    <a:pt x="318" y="86"/>
                    <a:pt x="326" y="86"/>
                  </a:cubicBezTo>
                  <a:cubicBezTo>
                    <a:pt x="329" y="86"/>
                    <a:pt x="329" y="86"/>
                    <a:pt x="333" y="86"/>
                  </a:cubicBezTo>
                  <a:cubicBezTo>
                    <a:pt x="333" y="94"/>
                    <a:pt x="333" y="94"/>
                    <a:pt x="333" y="94"/>
                  </a:cubicBezTo>
                  <a:cubicBezTo>
                    <a:pt x="333" y="94"/>
                    <a:pt x="333" y="94"/>
                    <a:pt x="333" y="94"/>
                  </a:cubicBezTo>
                  <a:close/>
                  <a:moveTo>
                    <a:pt x="345" y="13"/>
                  </a:moveTo>
                  <a:cubicBezTo>
                    <a:pt x="345" y="2"/>
                    <a:pt x="345" y="2"/>
                    <a:pt x="345" y="2"/>
                  </a:cubicBezTo>
                  <a:cubicBezTo>
                    <a:pt x="356" y="2"/>
                    <a:pt x="356" y="2"/>
                    <a:pt x="356" y="2"/>
                  </a:cubicBezTo>
                  <a:cubicBezTo>
                    <a:pt x="356" y="13"/>
                    <a:pt x="356" y="13"/>
                    <a:pt x="356" y="13"/>
                  </a:cubicBezTo>
                  <a:cubicBezTo>
                    <a:pt x="345" y="13"/>
                    <a:pt x="345" y="13"/>
                    <a:pt x="345" y="13"/>
                  </a:cubicBezTo>
                  <a:cubicBezTo>
                    <a:pt x="345" y="13"/>
                    <a:pt x="345" y="13"/>
                    <a:pt x="345" y="13"/>
                  </a:cubicBezTo>
                  <a:close/>
                  <a:moveTo>
                    <a:pt x="345" y="94"/>
                  </a:moveTo>
                  <a:cubicBezTo>
                    <a:pt x="345" y="31"/>
                    <a:pt x="345" y="31"/>
                    <a:pt x="345" y="31"/>
                  </a:cubicBezTo>
                  <a:cubicBezTo>
                    <a:pt x="354" y="31"/>
                    <a:pt x="354" y="31"/>
                    <a:pt x="354" y="31"/>
                  </a:cubicBezTo>
                  <a:cubicBezTo>
                    <a:pt x="354" y="94"/>
                    <a:pt x="354" y="94"/>
                    <a:pt x="354" y="94"/>
                  </a:cubicBezTo>
                  <a:cubicBezTo>
                    <a:pt x="345" y="94"/>
                    <a:pt x="345" y="94"/>
                    <a:pt x="345" y="94"/>
                  </a:cubicBezTo>
                  <a:cubicBezTo>
                    <a:pt x="345" y="94"/>
                    <a:pt x="345" y="94"/>
                    <a:pt x="345" y="94"/>
                  </a:cubicBezTo>
                  <a:close/>
                  <a:moveTo>
                    <a:pt x="372" y="61"/>
                  </a:moveTo>
                  <a:cubicBezTo>
                    <a:pt x="372" y="45"/>
                    <a:pt x="378" y="29"/>
                    <a:pt x="397" y="29"/>
                  </a:cubicBezTo>
                  <a:cubicBezTo>
                    <a:pt x="417" y="29"/>
                    <a:pt x="423" y="45"/>
                    <a:pt x="423" y="61"/>
                  </a:cubicBezTo>
                  <a:cubicBezTo>
                    <a:pt x="423" y="79"/>
                    <a:pt x="417" y="95"/>
                    <a:pt x="397" y="95"/>
                  </a:cubicBezTo>
                  <a:cubicBezTo>
                    <a:pt x="378" y="95"/>
                    <a:pt x="372" y="79"/>
                    <a:pt x="372" y="61"/>
                  </a:cubicBezTo>
                  <a:close/>
                  <a:moveTo>
                    <a:pt x="414" y="61"/>
                  </a:moveTo>
                  <a:cubicBezTo>
                    <a:pt x="414" y="52"/>
                    <a:pt x="410" y="36"/>
                    <a:pt x="397" y="36"/>
                  </a:cubicBezTo>
                  <a:cubicBezTo>
                    <a:pt x="385" y="36"/>
                    <a:pt x="381" y="52"/>
                    <a:pt x="381" y="61"/>
                  </a:cubicBezTo>
                  <a:cubicBezTo>
                    <a:pt x="381" y="72"/>
                    <a:pt x="385" y="86"/>
                    <a:pt x="397" y="86"/>
                  </a:cubicBezTo>
                  <a:cubicBezTo>
                    <a:pt x="410" y="86"/>
                    <a:pt x="414" y="72"/>
                    <a:pt x="414" y="61"/>
                  </a:cubicBezTo>
                  <a:close/>
                  <a:moveTo>
                    <a:pt x="475" y="94"/>
                  </a:moveTo>
                  <a:cubicBezTo>
                    <a:pt x="475" y="58"/>
                    <a:pt x="475" y="58"/>
                    <a:pt x="475" y="58"/>
                  </a:cubicBezTo>
                  <a:cubicBezTo>
                    <a:pt x="475" y="50"/>
                    <a:pt x="476" y="38"/>
                    <a:pt x="466" y="38"/>
                  </a:cubicBezTo>
                  <a:cubicBezTo>
                    <a:pt x="453" y="38"/>
                    <a:pt x="448" y="58"/>
                    <a:pt x="448" y="67"/>
                  </a:cubicBezTo>
                  <a:cubicBezTo>
                    <a:pt x="448" y="94"/>
                    <a:pt x="448" y="94"/>
                    <a:pt x="448" y="94"/>
                  </a:cubicBezTo>
                  <a:cubicBezTo>
                    <a:pt x="439" y="94"/>
                    <a:pt x="439" y="94"/>
                    <a:pt x="439" y="94"/>
                  </a:cubicBezTo>
                  <a:cubicBezTo>
                    <a:pt x="439" y="31"/>
                    <a:pt x="439" y="31"/>
                    <a:pt x="439" y="31"/>
                  </a:cubicBezTo>
                  <a:cubicBezTo>
                    <a:pt x="448" y="31"/>
                    <a:pt x="448" y="31"/>
                    <a:pt x="448" y="31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51" y="34"/>
                    <a:pt x="457" y="29"/>
                    <a:pt x="467" y="29"/>
                  </a:cubicBezTo>
                  <a:cubicBezTo>
                    <a:pt x="478" y="29"/>
                    <a:pt x="484" y="38"/>
                    <a:pt x="484" y="49"/>
                  </a:cubicBezTo>
                  <a:cubicBezTo>
                    <a:pt x="484" y="94"/>
                    <a:pt x="484" y="94"/>
                    <a:pt x="484" y="94"/>
                  </a:cubicBezTo>
                  <a:cubicBezTo>
                    <a:pt x="475" y="94"/>
                    <a:pt x="475" y="94"/>
                    <a:pt x="475" y="94"/>
                  </a:cubicBezTo>
                  <a:cubicBezTo>
                    <a:pt x="475" y="94"/>
                    <a:pt x="475" y="94"/>
                    <a:pt x="475" y="94"/>
                  </a:cubicBezTo>
                  <a:close/>
                  <a:moveTo>
                    <a:pt x="498" y="85"/>
                  </a:moveTo>
                  <a:cubicBezTo>
                    <a:pt x="503" y="86"/>
                    <a:pt x="509" y="86"/>
                    <a:pt x="514" y="86"/>
                  </a:cubicBezTo>
                  <a:cubicBezTo>
                    <a:pt x="521" y="86"/>
                    <a:pt x="530" y="85"/>
                    <a:pt x="530" y="77"/>
                  </a:cubicBezTo>
                  <a:cubicBezTo>
                    <a:pt x="530" y="70"/>
                    <a:pt x="523" y="68"/>
                    <a:pt x="518" y="65"/>
                  </a:cubicBezTo>
                  <a:cubicBezTo>
                    <a:pt x="512" y="63"/>
                    <a:pt x="512" y="63"/>
                    <a:pt x="512" y="63"/>
                  </a:cubicBezTo>
                  <a:cubicBezTo>
                    <a:pt x="505" y="59"/>
                    <a:pt x="498" y="56"/>
                    <a:pt x="498" y="45"/>
                  </a:cubicBezTo>
                  <a:cubicBezTo>
                    <a:pt x="498" y="32"/>
                    <a:pt x="509" y="29"/>
                    <a:pt x="520" y="29"/>
                  </a:cubicBezTo>
                  <a:cubicBezTo>
                    <a:pt x="525" y="29"/>
                    <a:pt x="530" y="29"/>
                    <a:pt x="536" y="31"/>
                  </a:cubicBezTo>
                  <a:cubicBezTo>
                    <a:pt x="536" y="40"/>
                    <a:pt x="536" y="40"/>
                    <a:pt x="536" y="40"/>
                  </a:cubicBezTo>
                  <a:cubicBezTo>
                    <a:pt x="530" y="38"/>
                    <a:pt x="525" y="36"/>
                    <a:pt x="520" y="36"/>
                  </a:cubicBezTo>
                  <a:cubicBezTo>
                    <a:pt x="516" y="36"/>
                    <a:pt x="507" y="38"/>
                    <a:pt x="507" y="45"/>
                  </a:cubicBezTo>
                  <a:cubicBezTo>
                    <a:pt x="507" y="50"/>
                    <a:pt x="514" y="52"/>
                    <a:pt x="520" y="54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32" y="63"/>
                    <a:pt x="539" y="65"/>
                    <a:pt x="539" y="76"/>
                  </a:cubicBezTo>
                  <a:cubicBezTo>
                    <a:pt x="539" y="90"/>
                    <a:pt x="529" y="95"/>
                    <a:pt x="516" y="95"/>
                  </a:cubicBezTo>
                  <a:cubicBezTo>
                    <a:pt x="509" y="95"/>
                    <a:pt x="503" y="94"/>
                    <a:pt x="498" y="92"/>
                  </a:cubicBezTo>
                  <a:cubicBezTo>
                    <a:pt x="498" y="85"/>
                    <a:pt x="498" y="85"/>
                    <a:pt x="498" y="85"/>
                  </a:cubicBezTo>
                  <a:cubicBezTo>
                    <a:pt x="498" y="85"/>
                    <a:pt x="498" y="85"/>
                    <a:pt x="498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31" name="Group 30"/>
          <p:cNvGrpSpPr/>
          <p:nvPr userDrawn="1"/>
        </p:nvGrpSpPr>
        <p:grpSpPr>
          <a:xfrm>
            <a:off x="5662800" y="2677716"/>
            <a:ext cx="3074394" cy="1546292"/>
            <a:chOff x="5728986" y="1472516"/>
            <a:chExt cx="3074394" cy="2061722"/>
          </a:xfrm>
        </p:grpSpPr>
        <p:sp>
          <p:nvSpPr>
            <p:cNvPr id="32" name="Freeform 31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AU" sz="135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323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4" y="885600"/>
            <a:ext cx="8232775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5614" y="1182600"/>
            <a:ext cx="8232775" cy="368573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2014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434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4" y="886516"/>
            <a:ext cx="4010114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55525" y="1183516"/>
            <a:ext cx="4010114" cy="36861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679950" y="886516"/>
            <a:ext cx="4008438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4679950" y="1183516"/>
            <a:ext cx="4008438" cy="36861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2014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610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4" y="886516"/>
            <a:ext cx="8232775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55614" y="1183516"/>
            <a:ext cx="4010025" cy="36861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4679950" y="1183516"/>
            <a:ext cx="4008438" cy="36861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2014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419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55614" y="896400"/>
            <a:ext cx="8232775" cy="396976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2014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770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8419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455614" y="896400"/>
            <a:ext cx="4010025" cy="3969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4679951" y="896400"/>
            <a:ext cx="4008437" cy="3969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2014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6939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4" y="886516"/>
            <a:ext cx="8232775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2014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2945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2014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284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6" y="4931569"/>
            <a:ext cx="548033" cy="96441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675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5614" y="4931569"/>
            <a:ext cx="4060825" cy="9644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675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dirty="0" smtClean="0">
                <a:solidFill>
                  <a:srgbClr val="666666"/>
                </a:solidFill>
              </a:rPr>
              <a:t>Copyright © 2014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grpSp>
        <p:nvGrpSpPr>
          <p:cNvPr id="6" name="Group 5" hidden="1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69773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Tex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4" y="885600"/>
            <a:ext cx="8232775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5614" y="1182600"/>
            <a:ext cx="8232775" cy="36857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441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lumn Text slide with Heading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4" y="886516"/>
            <a:ext cx="4010114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55525" y="1183516"/>
            <a:ext cx="4010114" cy="36861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679950" y="886516"/>
            <a:ext cx="4008438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4679950" y="1183516"/>
            <a:ext cx="4008438" cy="36861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9902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lumn Text slide with Head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4" y="886516"/>
            <a:ext cx="8232775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55614" y="1183516"/>
            <a:ext cx="4010025" cy="36861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4679950" y="1183516"/>
            <a:ext cx="4008438" cy="36861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538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55614" y="896400"/>
            <a:ext cx="8232775" cy="39697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009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lumn Tex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455614" y="896400"/>
            <a:ext cx="4010025" cy="3969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4679951" y="896400"/>
            <a:ext cx="4008437" cy="3969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471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4" y="886516"/>
            <a:ext cx="8232775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548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0145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35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6" y="4931569"/>
            <a:ext cx="548033" cy="96441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675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5614" y="4931569"/>
            <a:ext cx="4060825" cy="9644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675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  <p:grpSp>
        <p:nvGrpSpPr>
          <p:cNvPr id="6" name="Group 5" hidden="1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3749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5614" y="561810"/>
            <a:ext cx="8232775" cy="871119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6" y="4931569"/>
            <a:ext cx="548033" cy="96441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675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5614" y="4931569"/>
            <a:ext cx="4060825" cy="9644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675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290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 -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5614" y="561810"/>
            <a:ext cx="8232775" cy="871119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5614" y="1433512"/>
            <a:ext cx="8232775" cy="33587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6" y="4931569"/>
            <a:ext cx="548033" cy="96441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675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5614" y="4931569"/>
            <a:ext cx="4060825" cy="9644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675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296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5614" y="561600"/>
            <a:ext cx="8232775" cy="871119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6" y="4931569"/>
            <a:ext cx="548033" cy="96441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675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5614" y="4931569"/>
            <a:ext cx="4060825" cy="9644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675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456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 -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5614" y="561600"/>
            <a:ext cx="8232775" cy="871119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5614" y="1432323"/>
            <a:ext cx="8232775" cy="3359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6" y="4931569"/>
            <a:ext cx="548033" cy="96441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675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5614" y="4931569"/>
            <a:ext cx="4060825" cy="9644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675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dirty="0" smtClean="0">
                <a:solidFill>
                  <a:srgbClr val="FFFFFF"/>
                </a:solidFill>
              </a:rPr>
              <a:t>Copyright © 2014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788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7675" y="0"/>
            <a:ext cx="8229600" cy="798394"/>
          </a:xfrm>
          <a:prstGeom prst="rect">
            <a:avLst/>
          </a:prstGeom>
        </p:spPr>
        <p:txBody>
          <a:bodyPr lIns="0" bIns="0" anchor="b" anchorCtr="0"/>
          <a:lstStyle>
            <a:lvl1pPr>
              <a:lnSpc>
                <a:spcPts val="1950"/>
              </a:lnSpc>
              <a:defRPr sz="1800" b="1" spc="0" baseline="0">
                <a:solidFill>
                  <a:srgbClr val="557799"/>
                </a:solidFill>
              </a:defRPr>
            </a:lvl1pPr>
          </a:lstStyle>
          <a:p>
            <a:r>
              <a:rPr lang="en-US" noProof="0" dirty="0" smtClean="0"/>
              <a:t>Click to edit Master text styles</a:t>
            </a:r>
            <a:endParaRPr lang="en-US" noProof="0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48055" y="890080"/>
            <a:ext cx="8229600" cy="339887"/>
          </a:xfrm>
          <a:prstGeom prst="rect">
            <a:avLst/>
          </a:prstGeom>
        </p:spPr>
        <p:txBody>
          <a:bodyPr wrap="square" lIns="0" tIns="107999" rIns="0" bIns="7200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500" b="0" i="0" kern="1200" spc="0" baseline="0">
                <a:solidFill>
                  <a:schemeClr val="accent2"/>
                </a:solidFill>
                <a:latin typeface="Arial"/>
              </a:defRPr>
            </a:lvl1pPr>
            <a:lvl2pPr marL="0" indent="173831">
              <a:lnSpc>
                <a:spcPct val="100000"/>
              </a:lnSpc>
              <a:spcBef>
                <a:spcPts val="750"/>
              </a:spcBef>
              <a:buFont typeface="Arial" charset="0"/>
              <a:buChar char="•"/>
              <a:defRPr sz="1350" spc="0" baseline="0">
                <a:solidFill>
                  <a:schemeClr val="tx1"/>
                </a:solidFill>
              </a:defRPr>
            </a:lvl2pPr>
            <a:lvl3pPr marL="263129" indent="-132160">
              <a:lnSpc>
                <a:spcPct val="100000"/>
              </a:lnSpc>
              <a:spcBef>
                <a:spcPts val="750"/>
              </a:spcBef>
              <a:defRPr sz="1350" spc="0" baseline="0">
                <a:solidFill>
                  <a:schemeClr val="tx1"/>
                </a:solidFill>
              </a:defRPr>
            </a:lvl3pPr>
            <a:lvl4pPr marL="400050" indent="-133350">
              <a:lnSpc>
                <a:spcPct val="100000"/>
              </a:lnSpc>
              <a:spcBef>
                <a:spcPts val="750"/>
              </a:spcBef>
              <a:defRPr sz="1350" spc="0" baseline="0">
                <a:solidFill>
                  <a:schemeClr val="tx1"/>
                </a:solidFill>
              </a:defRPr>
            </a:lvl4pPr>
            <a:lvl5pPr marL="542925" indent="-142875">
              <a:lnSpc>
                <a:spcPct val="100000"/>
              </a:lnSpc>
              <a:spcBef>
                <a:spcPts val="750"/>
              </a:spcBef>
              <a:buFont typeface="Lucida Grande"/>
              <a:buChar char="–"/>
              <a:defRPr sz="1350" spc="0" baseline="0">
                <a:solidFill>
                  <a:schemeClr val="tx1"/>
                </a:solidFill>
              </a:defRPr>
            </a:lvl5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Font typeface="Arial" charset="0"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48055" y="1229967"/>
            <a:ext cx="8229600" cy="3699236"/>
          </a:xfrm>
          <a:prstGeom prst="rect">
            <a:avLst/>
          </a:prstGeom>
        </p:spPr>
        <p:txBody>
          <a:bodyPr wrap="square" lIns="0" tIns="72000" rIns="0" bIns="0" anchor="t" anchorCtr="0">
            <a:noAutofit/>
          </a:bodyPr>
          <a:lstStyle>
            <a:lvl1pPr marL="257175" indent="-257175" algn="l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Font typeface="Arial" charset="0"/>
              <a:buNone/>
              <a:defRPr lang="de-DE" sz="120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marL="135000" indent="-135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lang="de-DE" sz="120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marL="270272" indent="-134541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lang="de-DE" sz="120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marL="406004" indent="-134541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lang="de-DE" sz="120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marL="534591" indent="-134541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lang="en-US" sz="1200" kern="1200" spc="0" baseline="0" dirty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marL="0" lvl="0" indent="-25717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cxnSp>
        <p:nvCxnSpPr>
          <p:cNvPr id="29" name="Straight Connector 9"/>
          <p:cNvCxnSpPr>
            <a:cxnSpLocks noChangeShapeType="1"/>
          </p:cNvCxnSpPr>
          <p:nvPr userDrawn="1"/>
        </p:nvCxnSpPr>
        <p:spPr bwMode="auto">
          <a:xfrm>
            <a:off x="452438" y="890080"/>
            <a:ext cx="869156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17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141081" y="4876038"/>
            <a:ext cx="536575" cy="184546"/>
          </a:xfrm>
          <a:prstGeom prst="rect">
            <a:avLst/>
          </a:prstGeom>
        </p:spPr>
        <p:txBody>
          <a:bodyPr wrap="square" lIns="0" tIns="45719" rIns="0" bIns="45719" anchor="ctr" anchorCtr="0">
            <a:noAutofit/>
          </a:bodyPr>
          <a:lstStyle>
            <a:lvl1pPr marL="0" indent="0" algn="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675" b="0" i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fld id="{76EE58EC-91B6-47AE-993B-68F350CA46E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Footer Placeholder 8"/>
          <p:cNvSpPr txBox="1">
            <a:spLocks/>
          </p:cNvSpPr>
          <p:nvPr userDrawn="1"/>
        </p:nvSpPr>
        <p:spPr>
          <a:xfrm>
            <a:off x="363752" y="4926807"/>
            <a:ext cx="5869341" cy="1702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685800">
              <a:defRPr/>
            </a:pPr>
            <a:r>
              <a:rPr lang="en-GB" sz="675" dirty="0" smtClean="0">
                <a:solidFill>
                  <a:srgbClr val="000000"/>
                </a:solidFill>
              </a:rPr>
              <a:t>Copyright © 2014 Accenture. All rights reserved. Strictly confidential. </a:t>
            </a:r>
            <a:endParaRPr lang="en-GB" sz="67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256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31800" y="128658"/>
            <a:ext cx="8243888" cy="651272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 smtClean="0"/>
              <a:t>Slide title: can span two lines of the slide </a:t>
            </a:r>
            <a:br>
              <a:rPr lang="en-US" dirty="0" smtClean="0"/>
            </a:br>
            <a:r>
              <a:rPr lang="en-US" dirty="0" smtClean="0"/>
              <a:t>and uses this font color (24pt)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7103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Option 2">
    <p:bg bwMode="auto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4" y="1082278"/>
            <a:ext cx="8207375" cy="992981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700" b="1" i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9973794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3_Title Slide_Black_To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cc_Strategy_StratLine_Wht_RGB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035" y="4680157"/>
            <a:ext cx="3521326" cy="179004"/>
          </a:xfrm>
          <a:prstGeom prst="rect">
            <a:avLst/>
          </a:prstGeom>
        </p:spPr>
      </p:pic>
      <p:grpSp>
        <p:nvGrpSpPr>
          <p:cNvPr id="10" name="Group 7"/>
          <p:cNvGrpSpPr/>
          <p:nvPr userDrawn="1"/>
        </p:nvGrpSpPr>
        <p:grpSpPr>
          <a:xfrm>
            <a:off x="6425148" y="1839202"/>
            <a:ext cx="2306397" cy="1545330"/>
            <a:chOff x="5701703" y="682760"/>
            <a:chExt cx="3074395" cy="2060440"/>
          </a:xfrm>
        </p:grpSpPr>
        <p:sp>
          <p:nvSpPr>
            <p:cNvPr id="14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350"/>
            </a:p>
          </p:txBody>
        </p:sp>
        <p:pic>
          <p:nvPicPr>
            <p:cNvPr id="16" name="Picture 10"/>
            <p:cNvPicPr>
              <a:picLocks noChangeAspect="1"/>
            </p:cNvPicPr>
            <p:nvPr/>
          </p:nvPicPr>
          <p:blipFill>
            <a:blip r:embed="rId8" cstate="print">
              <a:lum bright="100000" contras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  <a:ln/>
          </p:spPr>
        </p:pic>
      </p:grpSp>
      <p:pic>
        <p:nvPicPr>
          <p:cNvPr id="18" name="Picture 2" descr="C:\Users\dariusz.razniewski\Desktop\Acc_Strategy_GP_Lockup\Acc_Strategy_GP_Lockup_Wht_RGB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475" y="317207"/>
            <a:ext cx="2954320" cy="561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creen Shot 2015-05-21 at 10.17.23 AM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0068" cy="5143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1918498"/>
            <a:ext cx="4113212" cy="707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100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2625757"/>
            <a:ext cx="4110037" cy="461665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5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717280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770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6144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538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830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246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53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ECC420-F05B-AF48-B950-5D742FABAAC2}" type="datetimeFigureOut">
              <a:rPr lang="en-US" smtClean="0"/>
              <a:t>9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88F07E-4442-D14B-83FF-7C84CCEF7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099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614" y="896095"/>
            <a:ext cx="8232775" cy="3973561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4" y="87154"/>
            <a:ext cx="8232775" cy="752234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6" y="4931569"/>
            <a:ext cx="548033" cy="96441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675">
                <a:solidFill>
                  <a:schemeClr val="tx2"/>
                </a:solidFill>
                <a:latin typeface="+mn-lt"/>
              </a:defRPr>
            </a:lvl1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5614" y="4931569"/>
            <a:ext cx="4060825" cy="9644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675">
                <a:solidFill>
                  <a:schemeClr val="tx2"/>
                </a:solidFill>
                <a:latin typeface="+mn-lt"/>
              </a:defRPr>
            </a:lvl1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666666"/>
                </a:solidFill>
                <a:cs typeface="Arial" charset="0"/>
              </a:rPr>
              <a:t>Copyright © 2014 Accenture  All rights reserved.</a:t>
            </a:r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615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1725" b="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buFont typeface="Arial" charset="0"/>
        <a:defRPr sz="18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buFont typeface="Arial" charset="0"/>
        <a:defRPr sz="18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buFont typeface="Arial" charset="0"/>
        <a:defRPr sz="18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buFont typeface="Arial" charset="0"/>
        <a:defRPr sz="18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32160" indent="-132160" algn="l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1pPr>
      <a:lvl2pPr marL="271463" indent="-139304" algn="l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2pPr>
      <a:lvl3pPr marL="403622" indent="-132160" algn="l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3pPr>
      <a:lvl4pPr marL="536972" indent="-133350" algn="l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4pPr>
      <a:lvl5pPr marL="675085" indent="-138113" algn="l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finance.yahoo.com/news/uber-breakneck-growth-company-grows-210007173.html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venturebeat.com/2014/09/08/verizon-plans-to-create-a-sharing-platform-for-virtually-anything-not-just-cars/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sz="2400" dirty="0"/>
              <a:t>Trends to Value Chains: Circular Econom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1963" y="3036723"/>
            <a:ext cx="4110037" cy="461665"/>
          </a:xfrm>
        </p:spPr>
        <p:txBody>
          <a:bodyPr/>
          <a:lstStyle/>
          <a:p>
            <a:r>
              <a:rPr lang="en-US" dirty="0" err="1" smtClean="0"/>
              <a:t>Conferência</a:t>
            </a:r>
            <a:r>
              <a:rPr lang="en-US" dirty="0" smtClean="0"/>
              <a:t> </a:t>
            </a:r>
            <a:r>
              <a:rPr lang="en-AU" dirty="0"/>
              <a:t>ETHOS 360</a:t>
            </a:r>
            <a:r>
              <a:rPr lang="en-AU" baseline="30000" dirty="0"/>
              <a:t>o</a:t>
            </a:r>
            <a:endParaRPr lang="en-US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1008156" y="3732252"/>
            <a:ext cx="273445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4000" tIns="0" rIns="0" bIns="0">
            <a:spAutoFit/>
          </a:bodyPr>
          <a:lstStyle/>
          <a:p>
            <a:pPr defTabSz="685800"/>
            <a:r>
              <a:rPr lang="en-US" sz="1500" b="1" dirty="0">
                <a:solidFill>
                  <a:srgbClr val="FFFFFF"/>
                </a:solidFill>
                <a:cs typeface="Calibri" pitchFamily="34" charset="0"/>
              </a:rPr>
              <a:t>Peter Lacy</a:t>
            </a:r>
          </a:p>
          <a:p>
            <a:pPr defTabSz="685800"/>
            <a:r>
              <a:rPr lang="en-US" sz="1050" dirty="0">
                <a:solidFill>
                  <a:srgbClr val="FFFFFF"/>
                </a:solidFill>
                <a:cs typeface="Calibri" pitchFamily="34" charset="0"/>
              </a:rPr>
              <a:t>Sustainability Global Lead</a:t>
            </a:r>
          </a:p>
          <a:p>
            <a:pPr defTabSz="685800"/>
            <a:r>
              <a:rPr lang="en-US" sz="1050" dirty="0">
                <a:solidFill>
                  <a:srgbClr val="FFFFFF"/>
                </a:solidFill>
                <a:cs typeface="Calibri" pitchFamily="34" charset="0"/>
              </a:rPr>
              <a:t>London, UKI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09" t="11132" r="11146" b="14347"/>
          <a:stretch/>
        </p:blipFill>
        <p:spPr bwMode="auto">
          <a:xfrm>
            <a:off x="536320" y="3726337"/>
            <a:ext cx="513755" cy="546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9764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2400" dirty="0">
                <a:solidFill>
                  <a:prstClr val="white"/>
                </a:solidFill>
                <a:latin typeface="Gotham Medium"/>
                <a:ea typeface="+mj-ea"/>
                <a:cs typeface="+mj-cs"/>
              </a:rPr>
              <a:t>A 4-dimensional view on waste is required to see the real potential</a:t>
            </a:r>
            <a:endParaRPr lang="en-US" sz="105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580" y="1245206"/>
            <a:ext cx="7328931" cy="325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992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24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Accenture and WEF </a:t>
            </a:r>
            <a:r>
              <a:rPr lang="en-GB" sz="2400" dirty="0" smtClean="0">
                <a:solidFill>
                  <a:srgbClr val="FFFFFF"/>
                </a:solidFill>
                <a:latin typeface="Gotham Medium"/>
                <a:cs typeface="Arial" pitchFamily="34" charset="0"/>
              </a:rPr>
              <a:t>Young Global Leaders </a:t>
            </a:r>
            <a:r>
              <a:rPr lang="en-GB" sz="24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have studied 120 successful circular pioneers</a:t>
            </a:r>
            <a:endParaRPr lang="en-US" sz="10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grpSp>
        <p:nvGrpSpPr>
          <p:cNvPr id="15" name="Gruppieren 9"/>
          <p:cNvGrpSpPr/>
          <p:nvPr/>
        </p:nvGrpSpPr>
        <p:grpSpPr>
          <a:xfrm>
            <a:off x="1521018" y="3678237"/>
            <a:ext cx="1536190" cy="749812"/>
            <a:chOff x="1055211" y="1268760"/>
            <a:chExt cx="1536190" cy="749812"/>
          </a:xfrm>
        </p:grpSpPr>
        <p:sp>
          <p:nvSpPr>
            <p:cNvPr id="16" name="Textfeld 7"/>
            <p:cNvSpPr txBox="1"/>
            <p:nvPr/>
          </p:nvSpPr>
          <p:spPr>
            <a:xfrm>
              <a:off x="1055211" y="1268760"/>
              <a:ext cx="701080" cy="74981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400" dirty="0">
                  <a:solidFill>
                    <a:prstClr val="white"/>
                  </a:solidFill>
                  <a:latin typeface="Arial"/>
                  <a:cs typeface="Arial" charset="0"/>
                </a:rPr>
                <a:t>50</a:t>
              </a:r>
            </a:p>
          </p:txBody>
        </p:sp>
        <p:sp>
          <p:nvSpPr>
            <p:cNvPr id="17" name="Textfeld 8"/>
            <p:cNvSpPr txBox="1"/>
            <p:nvPr/>
          </p:nvSpPr>
          <p:spPr>
            <a:xfrm>
              <a:off x="1691548" y="1412776"/>
              <a:ext cx="899853" cy="503590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prstClr val="white"/>
                  </a:solidFill>
                  <a:latin typeface="Arial"/>
                  <a:cs typeface="Arial" charset="0"/>
                </a:rPr>
                <a:t>Executive </a:t>
              </a:r>
              <a:br>
                <a:rPr lang="en-US" sz="1400" dirty="0">
                  <a:solidFill>
                    <a:prstClr val="white"/>
                  </a:solidFill>
                  <a:latin typeface="Arial"/>
                  <a:cs typeface="Arial" charset="0"/>
                </a:rPr>
              </a:br>
              <a:r>
                <a:rPr lang="en-US" sz="1400" dirty="0">
                  <a:solidFill>
                    <a:prstClr val="white"/>
                  </a:solidFill>
                  <a:latin typeface="Arial"/>
                  <a:cs typeface="Arial" charset="0"/>
                </a:rPr>
                <a:t>Interviews</a:t>
              </a:r>
            </a:p>
          </p:txBody>
        </p:sp>
      </p:grpSp>
      <p:grpSp>
        <p:nvGrpSpPr>
          <p:cNvPr id="18" name="Gruppieren 21"/>
          <p:cNvGrpSpPr/>
          <p:nvPr/>
        </p:nvGrpSpPr>
        <p:grpSpPr>
          <a:xfrm>
            <a:off x="1521018" y="1713750"/>
            <a:ext cx="1621150" cy="749812"/>
            <a:chOff x="741022" y="1268760"/>
            <a:chExt cx="1621150" cy="749812"/>
          </a:xfrm>
        </p:grpSpPr>
        <p:sp>
          <p:nvSpPr>
            <p:cNvPr id="19" name="Textfeld 22"/>
            <p:cNvSpPr txBox="1"/>
            <p:nvPr/>
          </p:nvSpPr>
          <p:spPr>
            <a:xfrm>
              <a:off x="741022" y="1268760"/>
              <a:ext cx="1015269" cy="74981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400" dirty="0">
                  <a:solidFill>
                    <a:prstClr val="white"/>
                  </a:solidFill>
                  <a:latin typeface="Arial"/>
                  <a:cs typeface="Arial" charset="0"/>
                </a:rPr>
                <a:t>120</a:t>
              </a:r>
            </a:p>
          </p:txBody>
        </p:sp>
        <p:sp>
          <p:nvSpPr>
            <p:cNvPr id="20" name="Textfeld 23"/>
            <p:cNvSpPr txBox="1"/>
            <p:nvPr/>
          </p:nvSpPr>
          <p:spPr>
            <a:xfrm>
              <a:off x="1691548" y="1412776"/>
              <a:ext cx="670624" cy="503590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prstClr val="white"/>
                  </a:solidFill>
                  <a:latin typeface="Arial"/>
                  <a:cs typeface="Arial" charset="0"/>
                </a:rPr>
                <a:t>Case</a:t>
              </a:r>
              <a:br>
                <a:rPr lang="en-US" sz="1400" dirty="0">
                  <a:solidFill>
                    <a:prstClr val="white"/>
                  </a:solidFill>
                  <a:latin typeface="Arial"/>
                  <a:cs typeface="Arial" charset="0"/>
                </a:rPr>
              </a:br>
              <a:r>
                <a:rPr lang="en-US" sz="1400" dirty="0">
                  <a:solidFill>
                    <a:prstClr val="white"/>
                  </a:solidFill>
                  <a:latin typeface="Arial"/>
                  <a:cs typeface="Arial" charset="0"/>
                </a:rPr>
                <a:t>Studies</a:t>
              </a:r>
            </a:p>
          </p:txBody>
        </p:sp>
      </p:grpSp>
      <p:sp>
        <p:nvSpPr>
          <p:cNvPr id="21" name="Gleichschenkliges Dreieck 11"/>
          <p:cNvSpPr/>
          <p:nvPr/>
        </p:nvSpPr>
        <p:spPr bwMode="gray">
          <a:xfrm rot="5400000">
            <a:off x="2084529" y="2926882"/>
            <a:ext cx="2714298" cy="288033"/>
          </a:xfrm>
          <a:prstGeom prst="triangle">
            <a:avLst/>
          </a:prstGeom>
          <a:solidFill>
            <a:srgbClr val="FF0000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pic>
        <p:nvPicPr>
          <p:cNvPr id="1026" name="Picture 2" descr="accentur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0" r="30876"/>
          <a:stretch/>
        </p:blipFill>
        <p:spPr bwMode="auto">
          <a:xfrm>
            <a:off x="452214" y="2370538"/>
            <a:ext cx="1065180" cy="1400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8435" y="1556885"/>
            <a:ext cx="5104816" cy="896899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8709" y="3009412"/>
            <a:ext cx="1879715" cy="1224000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7845" y="3009412"/>
            <a:ext cx="3185680" cy="12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247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2400" dirty="0">
                <a:solidFill>
                  <a:prstClr val="white"/>
                </a:solidFill>
                <a:latin typeface="Gotham Medium"/>
                <a:ea typeface="+mj-ea"/>
                <a:cs typeface="+mj-cs"/>
              </a:rPr>
              <a:t>In our research we found five circular economy business models</a:t>
            </a:r>
            <a:endParaRPr lang="en-US" sz="9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sp>
        <p:nvSpPr>
          <p:cNvPr id="23" name="Text Placeholder 1"/>
          <p:cNvSpPr txBox="1">
            <a:spLocks/>
          </p:cNvSpPr>
          <p:nvPr/>
        </p:nvSpPr>
        <p:spPr>
          <a:xfrm>
            <a:off x="511924" y="1258982"/>
            <a:ext cx="2304256" cy="322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2690" indent="-141704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676" indent="-130986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662" indent="-130986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6365" indent="-141704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201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147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093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039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models of the circular economy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pieren 20"/>
          <p:cNvGrpSpPr/>
          <p:nvPr/>
        </p:nvGrpSpPr>
        <p:grpSpPr>
          <a:xfrm>
            <a:off x="686510" y="2273620"/>
            <a:ext cx="1616118" cy="1687088"/>
            <a:chOff x="1040207" y="3933207"/>
            <a:chExt cx="2298993" cy="2399951"/>
          </a:xfrm>
        </p:grpSpPr>
        <p:sp>
          <p:nvSpPr>
            <p:cNvPr id="36" name="Rechteck 47"/>
            <p:cNvSpPr/>
            <p:nvPr/>
          </p:nvSpPr>
          <p:spPr bwMode="gray">
            <a:xfrm>
              <a:off x="1043608" y="3933207"/>
              <a:ext cx="2295592" cy="405643"/>
            </a:xfrm>
            <a:prstGeom prst="rect">
              <a:avLst/>
            </a:prstGeom>
            <a:solidFill>
              <a:sysClr val="windowText" lastClr="000000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charset="0"/>
                </a:rPr>
                <a:t>Circular Supply-Chain</a:t>
              </a:r>
            </a:p>
          </p:txBody>
        </p:sp>
        <p:sp>
          <p:nvSpPr>
            <p:cNvPr id="37" name="Rechteck 48"/>
            <p:cNvSpPr/>
            <p:nvPr/>
          </p:nvSpPr>
          <p:spPr bwMode="gray">
            <a:xfrm>
              <a:off x="3240951" y="3933207"/>
              <a:ext cx="98249" cy="405643"/>
            </a:xfrm>
            <a:prstGeom prst="rect">
              <a:avLst/>
            </a:prstGeom>
            <a:solidFill>
              <a:srgbClr val="666666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38" name="Rechteck 49"/>
            <p:cNvSpPr/>
            <p:nvPr/>
          </p:nvSpPr>
          <p:spPr bwMode="gray">
            <a:xfrm>
              <a:off x="1040207" y="4431784"/>
              <a:ext cx="2295592" cy="405643"/>
            </a:xfrm>
            <a:prstGeom prst="rect">
              <a:avLst/>
            </a:prstGeom>
            <a:solidFill>
              <a:sysClr val="windowText" lastClr="000000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charset="0"/>
                </a:rPr>
                <a:t>Recovery &amp; Recycling</a:t>
              </a:r>
            </a:p>
          </p:txBody>
        </p:sp>
        <p:sp>
          <p:nvSpPr>
            <p:cNvPr id="39" name="Rechteck 50"/>
            <p:cNvSpPr/>
            <p:nvPr/>
          </p:nvSpPr>
          <p:spPr bwMode="gray">
            <a:xfrm>
              <a:off x="3240951" y="4431784"/>
              <a:ext cx="98249" cy="405643"/>
            </a:xfrm>
            <a:prstGeom prst="rect">
              <a:avLst/>
            </a:prstGeom>
            <a:solidFill>
              <a:srgbClr val="FF0000">
                <a:lumMod val="75000"/>
              </a:srgb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40" name="Rechteck 60"/>
            <p:cNvSpPr/>
            <p:nvPr/>
          </p:nvSpPr>
          <p:spPr bwMode="gray">
            <a:xfrm>
              <a:off x="1043608" y="4930361"/>
              <a:ext cx="2295592" cy="405643"/>
            </a:xfrm>
            <a:prstGeom prst="rect">
              <a:avLst/>
            </a:prstGeom>
            <a:solidFill>
              <a:sysClr val="windowText" lastClr="000000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charset="0"/>
                </a:rPr>
                <a:t>Product Life-Extension</a:t>
              </a:r>
              <a:endParaRPr kumimoji="0" lang="en-GB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41" name="Rechteck 61"/>
            <p:cNvSpPr/>
            <p:nvPr/>
          </p:nvSpPr>
          <p:spPr bwMode="gray">
            <a:xfrm>
              <a:off x="3240951" y="4930361"/>
              <a:ext cx="98249" cy="405643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42" name="Rechteck 70"/>
            <p:cNvSpPr/>
            <p:nvPr/>
          </p:nvSpPr>
          <p:spPr bwMode="gray">
            <a:xfrm>
              <a:off x="1043608" y="5428938"/>
              <a:ext cx="2295592" cy="405643"/>
            </a:xfrm>
            <a:prstGeom prst="rect">
              <a:avLst/>
            </a:prstGeom>
            <a:solidFill>
              <a:sysClr val="windowText" lastClr="000000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charset="0"/>
                </a:rPr>
                <a:t>Sharing Platform</a:t>
              </a:r>
              <a:endParaRPr kumimoji="0" lang="en-GB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43" name="Rechteck 72"/>
            <p:cNvSpPr/>
            <p:nvPr/>
          </p:nvSpPr>
          <p:spPr bwMode="gray">
            <a:xfrm>
              <a:off x="3240951" y="5428938"/>
              <a:ext cx="98249" cy="405643"/>
            </a:xfrm>
            <a:prstGeom prst="rect">
              <a:avLst/>
            </a:prstGeom>
            <a:solidFill>
              <a:srgbClr val="778888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44" name="Rechteck 74"/>
            <p:cNvSpPr/>
            <p:nvPr/>
          </p:nvSpPr>
          <p:spPr bwMode="gray">
            <a:xfrm>
              <a:off x="1043608" y="5927515"/>
              <a:ext cx="2295592" cy="405643"/>
            </a:xfrm>
            <a:prstGeom prst="rect">
              <a:avLst/>
            </a:prstGeom>
            <a:solidFill>
              <a:sysClr val="windowText" lastClr="000000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charset="0"/>
                </a:rPr>
                <a:t>Product as a Service</a:t>
              </a:r>
              <a:endParaRPr kumimoji="0" lang="en-GB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45" name="Rechteck 77"/>
            <p:cNvSpPr/>
            <p:nvPr/>
          </p:nvSpPr>
          <p:spPr bwMode="gray">
            <a:xfrm>
              <a:off x="3240951" y="5927515"/>
              <a:ext cx="98249" cy="405643"/>
            </a:xfrm>
            <a:prstGeom prst="rect">
              <a:avLst/>
            </a:prstGeom>
            <a:solidFill>
              <a:srgbClr val="778888">
                <a:lumMod val="60000"/>
                <a:lumOff val="40000"/>
              </a:srgb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9823" y="1104872"/>
            <a:ext cx="4664333" cy="3713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520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2400" dirty="0" smtClean="0">
                <a:solidFill>
                  <a:prstClr val="white"/>
                </a:solidFill>
                <a:latin typeface="Gotham Medium"/>
                <a:ea typeface="+mj-ea"/>
                <a:cs typeface="+mj-cs"/>
              </a:rPr>
              <a:t>Three types of technologies are key</a:t>
            </a:r>
            <a:endParaRPr lang="en-US" sz="9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sp>
        <p:nvSpPr>
          <p:cNvPr id="17" name="Text Placeholder 1"/>
          <p:cNvSpPr txBox="1">
            <a:spLocks/>
          </p:cNvSpPr>
          <p:nvPr/>
        </p:nvSpPr>
        <p:spPr>
          <a:xfrm>
            <a:off x="395536" y="1104872"/>
            <a:ext cx="8197850" cy="3222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 fontAlgn="base">
              <a:spcBef>
                <a:spcPts val="600"/>
              </a:spcBef>
              <a:spcAft>
                <a:spcPct val="0"/>
              </a:spcAft>
              <a:buNone/>
            </a:pPr>
            <a:r>
              <a:rPr lang="en-GB" sz="1800" dirty="0" smtClean="0">
                <a:solidFill>
                  <a:srgbClr val="FF0000"/>
                </a:solidFill>
                <a:latin typeface="Gotham Medium"/>
                <a:cs typeface="Arial" pitchFamily="34" charset="0"/>
              </a:rPr>
              <a:t>Circular Economy enabling technologies</a:t>
            </a:r>
            <a:endParaRPr lang="en-GB" sz="1800" dirty="0">
              <a:solidFill>
                <a:srgbClr val="FF0000"/>
              </a:solidFill>
              <a:latin typeface="Gotham Medium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784" y="1636972"/>
            <a:ext cx="5944115" cy="3036071"/>
          </a:xfrm>
          <a:prstGeom prst="rect">
            <a:avLst/>
          </a:prstGeom>
        </p:spPr>
      </p:pic>
      <p:grpSp>
        <p:nvGrpSpPr>
          <p:cNvPr id="73" name="Group 72"/>
          <p:cNvGrpSpPr/>
          <p:nvPr/>
        </p:nvGrpSpPr>
        <p:grpSpPr>
          <a:xfrm>
            <a:off x="6575460" y="1668409"/>
            <a:ext cx="2270589" cy="2027656"/>
            <a:chOff x="7028127" y="2395397"/>
            <a:chExt cx="1864353" cy="2027656"/>
          </a:xfrm>
        </p:grpSpPr>
        <p:sp>
          <p:nvSpPr>
            <p:cNvPr id="74" name="Rectangle 73"/>
            <p:cNvSpPr/>
            <p:nvPr/>
          </p:nvSpPr>
          <p:spPr bwMode="auto">
            <a:xfrm>
              <a:off x="7201138" y="2395397"/>
              <a:ext cx="1683863" cy="74635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gital</a:t>
              </a:r>
              <a:endPara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ing entirely new ways to access and understand product use-phase and aid customers in use efficiency</a:t>
              </a:r>
              <a:endPara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Abgerundetes Rechteck 12"/>
            <p:cNvSpPr/>
            <p:nvPr/>
          </p:nvSpPr>
          <p:spPr bwMode="gray">
            <a:xfrm>
              <a:off x="7028127" y="2397409"/>
              <a:ext cx="121176" cy="123405"/>
            </a:xfrm>
            <a:prstGeom prst="roundRect">
              <a:avLst/>
            </a:prstGeom>
            <a:solidFill>
              <a:srgbClr val="FF0000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6" name="Rectangle 75"/>
            <p:cNvSpPr/>
            <p:nvPr/>
          </p:nvSpPr>
          <p:spPr bwMode="auto">
            <a:xfrm>
              <a:off x="7208616" y="3115477"/>
              <a:ext cx="1683864" cy="74635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ybrid</a:t>
              </a:r>
              <a:endPara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ing moving physical objects back and forth from value chains with digital services to drive down cost</a:t>
              </a:r>
              <a:endPara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Abgerundetes Rechteck 121"/>
            <p:cNvSpPr/>
            <p:nvPr/>
          </p:nvSpPr>
          <p:spPr bwMode="gray">
            <a:xfrm>
              <a:off x="7028127" y="3115477"/>
              <a:ext cx="121176" cy="123405"/>
            </a:xfrm>
            <a:prstGeom prst="roundRect">
              <a:avLst/>
            </a:prstGeom>
            <a:solidFill>
              <a:srgbClr val="666666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Rectangle 77"/>
            <p:cNvSpPr/>
            <p:nvPr/>
          </p:nvSpPr>
          <p:spPr bwMode="auto">
            <a:xfrm>
              <a:off x="7207076" y="3815194"/>
              <a:ext cx="1683863" cy="60785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gineering</a:t>
              </a:r>
              <a:endPara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ing production and supply of new types of resources as well as new product designs to use them</a:t>
              </a:r>
              <a:endPara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Abgerundetes Rechteck 122"/>
            <p:cNvSpPr/>
            <p:nvPr/>
          </p:nvSpPr>
          <p:spPr bwMode="gray">
            <a:xfrm>
              <a:off x="7028221" y="3811931"/>
              <a:ext cx="121176" cy="123405"/>
            </a:xfrm>
            <a:prstGeom prst="roundRect">
              <a:avLst/>
            </a:prstGeom>
            <a:solidFill>
              <a:srgbClr val="778888">
                <a:lumMod val="60000"/>
                <a:lumOff val="40000"/>
              </a:srgb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0" name="Footer Placeholder 3"/>
          <p:cNvSpPr txBox="1">
            <a:spLocks/>
          </p:cNvSpPr>
          <p:nvPr/>
        </p:nvSpPr>
        <p:spPr>
          <a:xfrm>
            <a:off x="308341" y="4694668"/>
            <a:ext cx="6924666" cy="369332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>
                <a:solidFill>
                  <a:schemeClr val="bg1"/>
                </a:solidFill>
              </a:rPr>
              <a:t>1 Ingrid Pan, ‘</a:t>
            </a:r>
            <a:r>
              <a:rPr lang="en-US" sz="600" dirty="0" err="1">
                <a:solidFill>
                  <a:schemeClr val="bg1"/>
                </a:solidFill>
              </a:rPr>
              <a:t>Uber’s</a:t>
            </a:r>
            <a:r>
              <a:rPr lang="en-US" sz="600" dirty="0">
                <a:solidFill>
                  <a:schemeClr val="bg1"/>
                </a:solidFill>
              </a:rPr>
              <a:t> Breakneck Growth: How the Company Grows and Makes Money’, YAHOO!Finance, June 23, 2014, </a:t>
            </a:r>
            <a:r>
              <a:rPr lang="en-US" sz="600" dirty="0">
                <a:solidFill>
                  <a:schemeClr val="bg1"/>
                </a:solidFill>
                <a:hlinkClick r:id="rId3"/>
              </a:rPr>
              <a:t>http://finance.yahoo.com/news/uber-breakneck-growth-company-grows-210007173.html</a:t>
            </a:r>
            <a:r>
              <a:rPr lang="en-US" sz="600" dirty="0">
                <a:solidFill>
                  <a:schemeClr val="bg1"/>
                </a:solidFill>
              </a:rPr>
              <a:t>.</a:t>
            </a:r>
          </a:p>
          <a:p>
            <a:r>
              <a:rPr lang="en-US" sz="600" dirty="0">
                <a:solidFill>
                  <a:schemeClr val="bg1"/>
                </a:solidFill>
              </a:rPr>
              <a:t>2 Barry Levine, ‘Verizon plans to create a sharing platform for virtually anything – not just cars’, Venture Beat, September 8, 2014, </a:t>
            </a:r>
            <a:br>
              <a:rPr lang="en-US" sz="600" dirty="0">
                <a:solidFill>
                  <a:schemeClr val="bg1"/>
                </a:solidFill>
              </a:rPr>
            </a:br>
            <a:r>
              <a:rPr lang="en-US" sz="600" dirty="0">
                <a:solidFill>
                  <a:schemeClr val="bg1"/>
                </a:solidFill>
              </a:rPr>
              <a:t>   </a:t>
            </a:r>
            <a:r>
              <a:rPr lang="en-US" sz="600" dirty="0">
                <a:solidFill>
                  <a:schemeClr val="bg1"/>
                </a:solidFill>
                <a:hlinkClick r:id="rId4"/>
              </a:rPr>
              <a:t>http://venturebeat.com/2014/09/08/verizon-plans-to-create-a-sharing-platform-for-virtually-anything-not-just-cars/</a:t>
            </a:r>
            <a:endParaRPr lang="en-US" sz="600" dirty="0">
              <a:solidFill>
                <a:schemeClr val="bg1"/>
              </a:solidFill>
            </a:endParaRPr>
          </a:p>
          <a:p>
            <a:r>
              <a:rPr lang="en-US" sz="600" dirty="0">
                <a:solidFill>
                  <a:schemeClr val="bg1"/>
                </a:solidFill>
              </a:rPr>
              <a:t>3 Cisco, ‘Corporate Social Responsibility Report’, 2013, accessed November 24, 2014, http://www.cisco.com/assets/csr/pdf/CSR_Report_2013.pdf.</a:t>
            </a:r>
          </a:p>
        </p:txBody>
      </p:sp>
    </p:spTree>
    <p:extLst>
      <p:ext uri="{BB962C8B-B14F-4D97-AF65-F5344CB8AC3E}">
        <p14:creationId xmlns:p14="http://schemas.microsoft.com/office/powerpoint/2010/main" val="3519130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24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Leading adopters experiment with 5 new business capabilities</a:t>
            </a:r>
            <a:endParaRPr lang="en-US" sz="24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sp>
        <p:nvSpPr>
          <p:cNvPr id="17" name="Text Placeholder 1"/>
          <p:cNvSpPr txBox="1">
            <a:spLocks/>
          </p:cNvSpPr>
          <p:nvPr/>
        </p:nvSpPr>
        <p:spPr>
          <a:xfrm>
            <a:off x="395536" y="1104872"/>
            <a:ext cx="8197850" cy="3222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 fontAlgn="base">
              <a:spcBef>
                <a:spcPts val="600"/>
              </a:spcBef>
              <a:spcAft>
                <a:spcPct val="0"/>
              </a:spcAft>
              <a:buNone/>
            </a:pPr>
            <a:r>
              <a:rPr lang="en-GB" sz="1800" dirty="0" smtClean="0">
                <a:solidFill>
                  <a:srgbClr val="FF0000"/>
                </a:solidFill>
                <a:latin typeface="Gotham Medium"/>
                <a:cs typeface="Arial" pitchFamily="34" charset="0"/>
              </a:rPr>
              <a:t>Circular Economy capability shifts</a:t>
            </a:r>
            <a:endParaRPr lang="en-GB" sz="1800" dirty="0">
              <a:solidFill>
                <a:srgbClr val="FF0000"/>
              </a:solidFill>
              <a:latin typeface="Gotham Medium"/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104" y="1598023"/>
            <a:ext cx="6657409" cy="3237257"/>
          </a:xfrm>
          <a:prstGeom prst="rect">
            <a:avLst/>
          </a:prstGeom>
        </p:spPr>
      </p:pic>
      <p:sp>
        <p:nvSpPr>
          <p:cNvPr id="56" name="Footer Placeholder 3"/>
          <p:cNvSpPr txBox="1">
            <a:spLocks/>
          </p:cNvSpPr>
          <p:nvPr/>
        </p:nvSpPr>
        <p:spPr>
          <a:xfrm>
            <a:off x="311025" y="4730979"/>
            <a:ext cx="1614224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bg1"/>
                </a:solidFill>
              </a:rPr>
              <a:t>Source: Circular Economy book project</a:t>
            </a:r>
          </a:p>
        </p:txBody>
      </p:sp>
    </p:spTree>
    <p:extLst>
      <p:ext uri="{BB962C8B-B14F-4D97-AF65-F5344CB8AC3E}">
        <p14:creationId xmlns:p14="http://schemas.microsoft.com/office/powerpoint/2010/main" val="4232532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pt-BR" sz="22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How Accenture </a:t>
            </a:r>
            <a:r>
              <a:rPr lang="pt-BR" sz="2200" dirty="0" smtClean="0">
                <a:solidFill>
                  <a:srgbClr val="FFFFFF"/>
                </a:solidFill>
                <a:latin typeface="Gotham Medium"/>
                <a:cs typeface="Arial" pitchFamily="34" charset="0"/>
              </a:rPr>
              <a:t>is </a:t>
            </a:r>
            <a:r>
              <a:rPr lang="pt-BR" sz="22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improving a global consumer goods company ‘License to Operate &amp; Grow’ through Circular Economy </a:t>
            </a:r>
            <a:endParaRPr lang="en-GB" sz="2200" dirty="0">
              <a:solidFill>
                <a:srgbClr val="FFFFFF"/>
              </a:solidFill>
              <a:latin typeface="Gotham Medium"/>
              <a:cs typeface="Arial" pitchFamily="34" charset="0"/>
            </a:endParaRPr>
          </a:p>
        </p:txBody>
      </p:sp>
      <p:sp>
        <p:nvSpPr>
          <p:cNvPr id="17" name="Text Placeholder 1"/>
          <p:cNvSpPr txBox="1">
            <a:spLocks/>
          </p:cNvSpPr>
          <p:nvPr/>
        </p:nvSpPr>
        <p:spPr>
          <a:xfrm>
            <a:off x="395536" y="1104872"/>
            <a:ext cx="8197850" cy="3222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spcBef>
                <a:spcPts val="0"/>
              </a:spcBef>
              <a:buNone/>
            </a:pPr>
            <a:r>
              <a:rPr lang="en-GB" sz="1800" dirty="0">
                <a:solidFill>
                  <a:srgbClr val="FF0000"/>
                </a:solidFill>
                <a:latin typeface="Arial"/>
              </a:rPr>
              <a:t>We have identified a direct potential of up to €40m and to cover 20% of current material use with secondary sources</a:t>
            </a:r>
            <a:endParaRPr lang="en-US" sz="18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8341" y="23462"/>
            <a:ext cx="79380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i="1" dirty="0">
                <a:solidFill>
                  <a:schemeClr val="bg1"/>
                </a:solidFill>
              </a:rPr>
              <a:t>Case </a:t>
            </a:r>
            <a:r>
              <a:rPr lang="pt-BR" i="1" dirty="0" smtClean="0">
                <a:solidFill>
                  <a:schemeClr val="bg1"/>
                </a:solidFill>
              </a:rPr>
              <a:t>1</a:t>
            </a:r>
            <a:endParaRPr lang="pt-BR" i="1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276" y="1839682"/>
            <a:ext cx="4183006" cy="2891270"/>
          </a:xfrm>
          <a:prstGeom prst="rect">
            <a:avLst/>
          </a:prstGeom>
        </p:spPr>
      </p:pic>
      <p:sp>
        <p:nvSpPr>
          <p:cNvPr id="76" name="Isosceles Triangle 75"/>
          <p:cNvSpPr/>
          <p:nvPr/>
        </p:nvSpPr>
        <p:spPr>
          <a:xfrm rot="5400000">
            <a:off x="4626628" y="2993566"/>
            <a:ext cx="1354246" cy="170982"/>
          </a:xfrm>
          <a:prstGeom prst="triangle">
            <a:avLst/>
          </a:prstGeom>
          <a:solidFill>
            <a:srgbClr val="FF0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8821" y="1619242"/>
            <a:ext cx="2428730" cy="2750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054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2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How Vodafone is using sustainability challenges as an opportunity for growth in new markets for digital products &amp; services </a:t>
            </a:r>
          </a:p>
        </p:txBody>
      </p:sp>
      <p:sp>
        <p:nvSpPr>
          <p:cNvPr id="17" name="Text Placeholder 1"/>
          <p:cNvSpPr txBox="1">
            <a:spLocks/>
          </p:cNvSpPr>
          <p:nvPr/>
        </p:nvSpPr>
        <p:spPr>
          <a:xfrm>
            <a:off x="395536" y="1104872"/>
            <a:ext cx="8197850" cy="3222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spcBef>
                <a:spcPts val="0"/>
              </a:spcBef>
              <a:buNone/>
            </a:pPr>
            <a:r>
              <a:rPr lang="en-GB" sz="1800" dirty="0">
                <a:solidFill>
                  <a:srgbClr val="FF0000"/>
                </a:solidFill>
                <a:latin typeface="Arial"/>
              </a:rPr>
              <a:t>Accenture Strategy identified $28bn in potential new revenues across 30 opportunities, as well as significant outcomes for society</a:t>
            </a:r>
            <a:endParaRPr lang="en-US" sz="18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8341" y="23462"/>
            <a:ext cx="84670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i="1" dirty="0">
                <a:solidFill>
                  <a:schemeClr val="bg1"/>
                </a:solidFill>
              </a:rPr>
              <a:t>Case 2</a:t>
            </a:r>
            <a:r>
              <a:rPr lang="pt-BR" i="1" dirty="0" smtClean="0">
                <a:solidFill>
                  <a:schemeClr val="bg1"/>
                </a:solidFill>
              </a:rPr>
              <a:t> </a:t>
            </a:r>
            <a:endParaRPr lang="pt-BR" i="1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884" y="1762458"/>
            <a:ext cx="3127958" cy="3880744"/>
          </a:xfrm>
          <a:prstGeom prst="rect">
            <a:avLst/>
          </a:prstGeom>
        </p:spPr>
      </p:pic>
      <p:sp>
        <p:nvSpPr>
          <p:cNvPr id="34" name="Isosceles Triangle 33"/>
          <p:cNvSpPr/>
          <p:nvPr/>
        </p:nvSpPr>
        <p:spPr>
          <a:xfrm rot="5400000">
            <a:off x="3734580" y="3130100"/>
            <a:ext cx="1354246" cy="310435"/>
          </a:xfrm>
          <a:prstGeom prst="triangle">
            <a:avLst/>
          </a:prstGeom>
          <a:solidFill>
            <a:srgbClr val="FF0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4116" y="1427135"/>
            <a:ext cx="2572781" cy="3393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189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srgbClr val="FFFFFF"/>
                </a:solidFill>
                <a:latin typeface="Gotham Medium"/>
                <a:cs typeface="Arial" pitchFamily="34" charset="0"/>
              </a:rPr>
              <a:t>Conclusion</a:t>
            </a:r>
            <a:endParaRPr lang="en-GB" sz="2400" dirty="0">
              <a:solidFill>
                <a:srgbClr val="FFFFFF"/>
              </a:solidFill>
              <a:latin typeface="Gotham Medium"/>
              <a:cs typeface="Arial" pitchFamily="34" charset="0"/>
            </a:endParaRPr>
          </a:p>
        </p:txBody>
      </p:sp>
      <p:sp>
        <p:nvSpPr>
          <p:cNvPr id="17" name="Text Placeholder 1"/>
          <p:cNvSpPr txBox="1">
            <a:spLocks/>
          </p:cNvSpPr>
          <p:nvPr/>
        </p:nvSpPr>
        <p:spPr>
          <a:xfrm>
            <a:off x="395536" y="1104872"/>
            <a:ext cx="8197850" cy="3222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 fontAlgn="base">
              <a:spcBef>
                <a:spcPts val="600"/>
              </a:spcBef>
              <a:spcAft>
                <a:spcPct val="0"/>
              </a:spcAft>
              <a:buNone/>
            </a:pPr>
            <a:r>
              <a:rPr lang="en-GB" sz="1800" dirty="0">
                <a:solidFill>
                  <a:srgbClr val="FF0000"/>
                </a:solidFill>
                <a:latin typeface="Arial"/>
                <a:cs typeface="Arial" pitchFamily="34" charset="0"/>
              </a:rPr>
              <a:t>$4.5 trillion size of prize through …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950" y="312872"/>
            <a:ext cx="7049170" cy="3196268"/>
          </a:xfrm>
          <a:prstGeom prst="rect">
            <a:avLst/>
          </a:prstGeom>
        </p:spPr>
      </p:pic>
      <p:sp>
        <p:nvSpPr>
          <p:cNvPr id="21" name="Textplatzhalter 6"/>
          <p:cNvSpPr txBox="1">
            <a:spLocks/>
          </p:cNvSpPr>
          <p:nvPr/>
        </p:nvSpPr>
        <p:spPr>
          <a:xfrm>
            <a:off x="460948" y="3132273"/>
            <a:ext cx="3398366" cy="2769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US" b="0" dirty="0">
                <a:solidFill>
                  <a:srgbClr val="FF0000"/>
                </a:solidFill>
                <a:latin typeface="Arial"/>
              </a:rPr>
              <a:t>Five questions to get you started:</a:t>
            </a:r>
          </a:p>
        </p:txBody>
      </p:sp>
      <p:sp>
        <p:nvSpPr>
          <p:cNvPr id="22" name="Textplatzhalter 6"/>
          <p:cNvSpPr txBox="1">
            <a:spLocks/>
          </p:cNvSpPr>
          <p:nvPr/>
        </p:nvSpPr>
        <p:spPr>
          <a:xfrm>
            <a:off x="521569" y="3484126"/>
            <a:ext cx="6245621" cy="1340161"/>
          </a:xfrm>
          <a:prstGeom prst="rect">
            <a:avLst/>
          </a:prstGeom>
          <a:noFill/>
        </p:spPr>
        <p:txBody>
          <a:bodyPr wrap="none" lIns="0" tIns="72000" rIns="0" bIns="36000">
            <a:spAutoFit/>
          </a:bodyPr>
          <a:lstStyle>
            <a:lvl1pPr marL="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1" fontAlgn="base" hangingPunct="1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indent="-1762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re the risk and opportunities of  moving to a Circular Economy?</a:t>
            </a:r>
          </a:p>
          <a:p>
            <a:pPr marL="176213" indent="-1762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the core value we deliver to customers?</a:t>
            </a:r>
          </a:p>
          <a:p>
            <a:pPr marL="176213" indent="-1762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can digital and other technologies deliver this value in new ways?</a:t>
            </a:r>
          </a:p>
          <a:p>
            <a:pPr marL="176213" indent="-1762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new capabilities are needed to turn the value chain circular?</a:t>
            </a:r>
          </a:p>
          <a:p>
            <a:pPr marL="176213" indent="-1762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 we time action to capture low hanging fruit and long term disruption?</a:t>
            </a:r>
          </a:p>
        </p:txBody>
      </p:sp>
    </p:spTree>
    <p:extLst>
      <p:ext uri="{BB962C8B-B14F-4D97-AF65-F5344CB8AC3E}">
        <p14:creationId xmlns:p14="http://schemas.microsoft.com/office/powerpoint/2010/main" val="686484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>
              <a:solidFill>
                <a:srgbClr val="FFFFFF"/>
              </a:solidFill>
              <a:latin typeface="Gotham Medium"/>
              <a:cs typeface="Arial" pitchFamily="34" charset="0"/>
            </a:endParaRPr>
          </a:p>
        </p:txBody>
      </p:sp>
      <p:sp>
        <p:nvSpPr>
          <p:cNvPr id="9" name="Titel 4"/>
          <p:cNvSpPr txBox="1">
            <a:spLocks/>
          </p:cNvSpPr>
          <p:nvPr/>
        </p:nvSpPr>
        <p:spPr>
          <a:xfrm>
            <a:off x="4201774" y="2598331"/>
            <a:ext cx="3816424" cy="36003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de-DE" sz="2700" b="0" kern="1200" spc="0" baseline="0">
                <a:solidFill>
                  <a:srgbClr val="FF0000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charset="0"/>
              </a:defRPr>
            </a:lvl5pPr>
            <a:lvl6pPr marL="342946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685891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028837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371783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2000" dirty="0">
                <a:latin typeface="Arial" panose="020B0604020202020204" pitchFamily="34" charset="0"/>
              </a:rPr>
              <a:t>www.accenture.com/sustainability</a:t>
            </a:r>
          </a:p>
        </p:txBody>
      </p:sp>
      <p:pic>
        <p:nvPicPr>
          <p:cNvPr id="10" name="Picture 2" descr="accentur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0" r="30876"/>
          <a:stretch/>
        </p:blipFill>
        <p:spPr bwMode="auto">
          <a:xfrm>
            <a:off x="1366614" y="1292279"/>
            <a:ext cx="2260164" cy="2972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7753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Gotham Medium"/>
              </a:rPr>
              <a:t>Major market forces and uncertainties make growth challenging in a margin squeezed environment</a:t>
            </a:r>
            <a:endParaRPr lang="en-US" sz="24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pic>
        <p:nvPicPr>
          <p:cNvPr id="335" name="Picture 3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6220" y="1222625"/>
            <a:ext cx="6031560" cy="3672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01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400" dirty="0">
                <a:solidFill>
                  <a:srgbClr val="FF0000"/>
                </a:solidFill>
                <a:latin typeface="Gotham Medium"/>
                <a:cs typeface="Arial" pitchFamily="34" charset="0"/>
              </a:rPr>
              <a:t>Digital</a:t>
            </a:r>
            <a:r>
              <a:rPr lang="en-US" sz="24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 is </a:t>
            </a:r>
            <a:r>
              <a:rPr lang="de-DE" sz="24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creating extraordinary new challenges and opportunities</a:t>
            </a:r>
            <a:endParaRPr lang="en-US" sz="20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464" y="1212351"/>
            <a:ext cx="6642523" cy="381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062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Competing to Win in this complex business environment requires a </a:t>
            </a:r>
            <a:r>
              <a:rPr lang="en-US" sz="2400" dirty="0">
                <a:solidFill>
                  <a:srgbClr val="FF0000"/>
                </a:solidFill>
                <a:latin typeface="Gotham Medium"/>
                <a:cs typeface="Arial" pitchFamily="34" charset="0"/>
              </a:rPr>
              <a:t>“Triple A” Advantage </a:t>
            </a:r>
            <a:endParaRPr lang="en-US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sp>
        <p:nvSpPr>
          <p:cNvPr id="8" name="Text Placeholder 1"/>
          <p:cNvSpPr txBox="1">
            <a:spLocks/>
          </p:cNvSpPr>
          <p:nvPr/>
        </p:nvSpPr>
        <p:spPr>
          <a:xfrm>
            <a:off x="455613" y="1242775"/>
            <a:ext cx="4153941" cy="39600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Medium"/>
              </a:rPr>
              <a:t>To create superior value compared to competitors companies must be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Medium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41829" y="1957893"/>
            <a:ext cx="3154496" cy="27597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200"/>
              </a:spcBef>
              <a:spcAft>
                <a:spcPts val="200"/>
              </a:spcAft>
            </a:pPr>
            <a:r>
              <a:rPr lang="de-DE" sz="1600" i="1" dirty="0" smtClean="0">
                <a:solidFill>
                  <a:srgbClr val="FF0000"/>
                </a:solidFill>
                <a:latin typeface="Gotham Medium"/>
              </a:rPr>
              <a:t>Agile</a:t>
            </a:r>
            <a:br>
              <a:rPr lang="de-DE" sz="1600" i="1" dirty="0" smtClean="0">
                <a:solidFill>
                  <a:srgbClr val="FF0000"/>
                </a:solidFill>
                <a:latin typeface="Gotham Medium"/>
              </a:rPr>
            </a:br>
            <a:r>
              <a:rPr lang="de-DE" sz="1600" dirty="0">
                <a:solidFill>
                  <a:srgbClr val="FFFFFF"/>
                </a:solidFill>
                <a:latin typeface="Gotham Medium"/>
              </a:rPr>
              <a:t>c</a:t>
            </a:r>
            <a:r>
              <a:rPr lang="de-DE" sz="1600" dirty="0" smtClean="0">
                <a:solidFill>
                  <a:srgbClr val="FFFFFF"/>
                </a:solidFill>
                <a:latin typeface="Gotham Medium"/>
              </a:rPr>
              <a:t>apabilities</a:t>
            </a:r>
            <a:r>
              <a:rPr lang="de-DE" sz="1600" dirty="0">
                <a:solidFill>
                  <a:srgbClr val="FFFFFF"/>
                </a:solidFill>
                <a:latin typeface="Gotham Medium"/>
              </a:rPr>
              <a:t>, cost base and </a:t>
            </a:r>
            <a:r>
              <a:rPr lang="de-DE" sz="1600" dirty="0" smtClean="0">
                <a:solidFill>
                  <a:srgbClr val="FFFFFF"/>
                </a:solidFill>
                <a:latin typeface="Gotham Medium"/>
              </a:rPr>
              <a:t>operating </a:t>
            </a:r>
            <a:r>
              <a:rPr lang="de-DE" sz="1600" dirty="0">
                <a:solidFill>
                  <a:srgbClr val="FFFFFF"/>
                </a:solidFill>
                <a:latin typeface="Gotham Medium"/>
              </a:rPr>
              <a:t>m</a:t>
            </a:r>
            <a:r>
              <a:rPr lang="de-DE" sz="1600" dirty="0" smtClean="0">
                <a:solidFill>
                  <a:srgbClr val="FFFFFF"/>
                </a:solidFill>
                <a:latin typeface="Gotham Medium"/>
              </a:rPr>
              <a:t>odel</a:t>
            </a:r>
            <a:endParaRPr lang="de-DE" sz="1600" i="1" dirty="0">
              <a:solidFill>
                <a:srgbClr val="FFFFFF"/>
              </a:solidFill>
              <a:latin typeface="Gotham Medium"/>
            </a:endParaRPr>
          </a:p>
          <a:p>
            <a:pPr defTabSz="914400">
              <a:spcBef>
                <a:spcPts val="200"/>
              </a:spcBef>
              <a:spcAft>
                <a:spcPts val="200"/>
              </a:spcAft>
            </a:pPr>
            <a:endParaRPr lang="de-DE" sz="1600" i="1" dirty="0" smtClean="0">
              <a:solidFill>
                <a:srgbClr val="FF0000"/>
              </a:solidFill>
              <a:latin typeface="Gotham Medium"/>
            </a:endParaRPr>
          </a:p>
          <a:p>
            <a:pPr defTabSz="914400">
              <a:spcBef>
                <a:spcPts val="200"/>
              </a:spcBef>
              <a:spcAft>
                <a:spcPts val="200"/>
              </a:spcAft>
            </a:pPr>
            <a:r>
              <a:rPr lang="de-DE" sz="1600" i="1" dirty="0" smtClean="0">
                <a:solidFill>
                  <a:srgbClr val="FF0000"/>
                </a:solidFill>
                <a:latin typeface="Gotham Medium"/>
              </a:rPr>
              <a:t>Adaptive </a:t>
            </a:r>
            <a:br>
              <a:rPr lang="de-DE" sz="1600" i="1" dirty="0" smtClean="0">
                <a:solidFill>
                  <a:srgbClr val="FF0000"/>
                </a:solidFill>
                <a:latin typeface="Gotham Medium"/>
              </a:rPr>
            </a:br>
            <a:r>
              <a:rPr lang="de-DE" sz="1600" dirty="0">
                <a:solidFill>
                  <a:srgbClr val="FFFFFF"/>
                </a:solidFill>
                <a:latin typeface="Gotham Medium"/>
              </a:rPr>
              <a:t>g</a:t>
            </a:r>
            <a:r>
              <a:rPr lang="de-DE" sz="1600" dirty="0" smtClean="0">
                <a:solidFill>
                  <a:srgbClr val="FFFFFF"/>
                </a:solidFill>
                <a:latin typeface="Gotham Medium"/>
              </a:rPr>
              <a:t>rowth </a:t>
            </a:r>
            <a:r>
              <a:rPr lang="de-DE" sz="1600" dirty="0">
                <a:solidFill>
                  <a:srgbClr val="FFFFFF"/>
                </a:solidFill>
                <a:latin typeface="Gotham Medium"/>
              </a:rPr>
              <a:t>and innovation engines, exploiting the ecosytsem</a:t>
            </a:r>
            <a:endParaRPr lang="de-DE" sz="1600" i="1" dirty="0">
              <a:solidFill>
                <a:srgbClr val="FFFFFF"/>
              </a:solidFill>
              <a:latin typeface="Gotham Medium"/>
            </a:endParaRPr>
          </a:p>
          <a:p>
            <a:pPr defTabSz="914400">
              <a:spcBef>
                <a:spcPts val="200"/>
              </a:spcBef>
              <a:spcAft>
                <a:spcPts val="200"/>
              </a:spcAft>
            </a:pPr>
            <a:endParaRPr lang="de-DE" sz="1600" i="1" dirty="0" smtClean="0">
              <a:solidFill>
                <a:srgbClr val="FF0000"/>
              </a:solidFill>
              <a:latin typeface="Gotham Medium"/>
            </a:endParaRPr>
          </a:p>
          <a:p>
            <a:pPr defTabSz="914400">
              <a:spcBef>
                <a:spcPts val="200"/>
              </a:spcBef>
              <a:spcAft>
                <a:spcPts val="200"/>
              </a:spcAft>
            </a:pPr>
            <a:r>
              <a:rPr lang="de-DE" sz="1600" i="1" dirty="0" smtClean="0">
                <a:solidFill>
                  <a:srgbClr val="FF0000"/>
                </a:solidFill>
                <a:latin typeface="Gotham Medium"/>
              </a:rPr>
              <a:t>Aligned</a:t>
            </a:r>
            <a:br>
              <a:rPr lang="de-DE" sz="1600" i="1" dirty="0" smtClean="0">
                <a:solidFill>
                  <a:srgbClr val="FF0000"/>
                </a:solidFill>
                <a:latin typeface="Gotham Medium"/>
              </a:rPr>
            </a:br>
            <a:r>
              <a:rPr lang="de-DE" sz="1600" dirty="0" smtClean="0">
                <a:solidFill>
                  <a:srgbClr val="FFFFFF"/>
                </a:solidFill>
                <a:latin typeface="Gotham Medium"/>
              </a:rPr>
              <a:t>with </a:t>
            </a:r>
            <a:r>
              <a:rPr lang="de-DE" sz="1600" dirty="0">
                <a:solidFill>
                  <a:srgbClr val="FFFFFF"/>
                </a:solidFill>
                <a:latin typeface="Gotham Medium"/>
              </a:rPr>
              <a:t>s</a:t>
            </a:r>
            <a:r>
              <a:rPr lang="de-DE" sz="1600" dirty="0" smtClean="0">
                <a:solidFill>
                  <a:srgbClr val="FFFFFF"/>
                </a:solidFill>
                <a:latin typeface="Gotham Medium"/>
              </a:rPr>
              <a:t>takeholder demands</a:t>
            </a:r>
            <a:endParaRPr lang="en-US" sz="1600" dirty="0">
              <a:solidFill>
                <a:srgbClr val="000000"/>
              </a:solidFill>
              <a:latin typeface="Gotham Medium"/>
            </a:endParaRPr>
          </a:p>
        </p:txBody>
      </p:sp>
      <p:sp>
        <p:nvSpPr>
          <p:cNvPr id="11" name="Isosceles Triangle 10"/>
          <p:cNvSpPr/>
          <p:nvPr/>
        </p:nvSpPr>
        <p:spPr>
          <a:xfrm rot="5400000">
            <a:off x="3166864" y="3100893"/>
            <a:ext cx="2743200" cy="457200"/>
          </a:xfrm>
          <a:prstGeom prst="triangle">
            <a:avLst/>
          </a:prstGeom>
          <a:solidFill>
            <a:srgbClr val="FF0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702"/>
          <a:stretch/>
        </p:blipFill>
        <p:spPr bwMode="auto">
          <a:xfrm>
            <a:off x="5158089" y="1553791"/>
            <a:ext cx="1954587" cy="1897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317"/>
          <a:stretch/>
        </p:blipFill>
        <p:spPr bwMode="auto">
          <a:xfrm>
            <a:off x="5080604" y="3451490"/>
            <a:ext cx="2109557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3357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Creating the Triple A Advantage is a Journey – where to start on the journey is unique to each </a:t>
            </a:r>
            <a:r>
              <a:rPr lang="en-US" sz="2400" dirty="0" err="1">
                <a:solidFill>
                  <a:srgbClr val="FFFFFF"/>
                </a:solidFill>
                <a:latin typeface="Gotham Medium"/>
                <a:cs typeface="Arial" pitchFamily="34" charset="0"/>
              </a:rPr>
              <a:t>organisation</a:t>
            </a:r>
            <a:endParaRPr lang="en-US" sz="16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439" y="1125012"/>
            <a:ext cx="6857123" cy="386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893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Accenture’s “Responsible Growth Framework</a:t>
            </a:r>
            <a:endParaRPr lang="en-US" sz="14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462451" y="1104872"/>
            <a:ext cx="8232775" cy="39600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Medium"/>
              </a:rPr>
              <a:t>Securing your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Medium"/>
              </a:rPr>
              <a:t>license to operate, innovate &amp; grow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Medium"/>
              </a:rPr>
              <a:t>for the long-term. Not just acting in short-term self-interes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Gotham Medium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8853" y="1972638"/>
            <a:ext cx="6586294" cy="2836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58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2400" dirty="0">
                <a:solidFill>
                  <a:prstClr val="white"/>
                </a:solidFill>
                <a:latin typeface="Gotham Medium"/>
                <a:ea typeface="+mj-ea"/>
                <a:cs typeface="+mj-cs"/>
              </a:rPr>
              <a:t>The link between economic development and resource use is strong</a:t>
            </a:r>
            <a:endParaRPr lang="en-US" sz="12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sp>
        <p:nvSpPr>
          <p:cNvPr id="6" name="Text Placeholder 1"/>
          <p:cNvSpPr txBox="1">
            <a:spLocks/>
          </p:cNvSpPr>
          <p:nvPr/>
        </p:nvSpPr>
        <p:spPr>
          <a:xfrm>
            <a:off x="395536" y="1104872"/>
            <a:ext cx="8197850" cy="3222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 smtClean="0">
                <a:solidFill>
                  <a:srgbClr val="FF0000"/>
                </a:solidFill>
                <a:latin typeface="Gotham Medium"/>
              </a:rPr>
              <a:t>Log plot of Resource use and Economic development (2010, 166 countries)</a:t>
            </a:r>
            <a:r>
              <a:rPr lang="en-US" sz="1800" baseline="30000" dirty="0" smtClean="0">
                <a:solidFill>
                  <a:srgbClr val="FF0000"/>
                </a:solidFill>
                <a:latin typeface="Gotham Medium"/>
              </a:rPr>
              <a:t>1</a:t>
            </a:r>
            <a:endParaRPr lang="en-US" sz="1800" baseline="30000" dirty="0">
              <a:solidFill>
                <a:srgbClr val="FF0000"/>
              </a:solidFill>
              <a:latin typeface="Gotham Medium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804" y="1627063"/>
            <a:ext cx="7074317" cy="2897913"/>
          </a:xfrm>
          <a:prstGeom prst="rect">
            <a:avLst/>
          </a:prstGeom>
        </p:spPr>
      </p:pic>
      <p:sp>
        <p:nvSpPr>
          <p:cNvPr id="72" name="Footer Placeholder 3"/>
          <p:cNvSpPr txBox="1">
            <a:spLocks/>
          </p:cNvSpPr>
          <p:nvPr/>
        </p:nvSpPr>
        <p:spPr>
          <a:xfrm>
            <a:off x="308341" y="4591564"/>
            <a:ext cx="6409127" cy="246221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1763" indent="-131763" fontAlgn="base">
              <a:spcAft>
                <a:spcPct val="0"/>
              </a:spcAft>
            </a:pPr>
            <a:r>
              <a:rPr lang="en-US" sz="800" dirty="0">
                <a:solidFill>
                  <a:prstClr val="white"/>
                </a:solidFill>
              </a:rPr>
              <a:t>1	SERI and </a:t>
            </a:r>
            <a:r>
              <a:rPr lang="en-US" sz="800" dirty="0" err="1">
                <a:solidFill>
                  <a:prstClr val="white"/>
                </a:solidFill>
              </a:rPr>
              <a:t>Dittrich</a:t>
            </a:r>
            <a:r>
              <a:rPr lang="en-US" sz="800" dirty="0">
                <a:solidFill>
                  <a:prstClr val="white"/>
                </a:solidFill>
              </a:rPr>
              <a:t>, M. (2014). Global Material Flow Database, World Bank (2014) GDP per capita in current US$ (outliers Mongolia &amp; Bahamas removed)</a:t>
            </a:r>
          </a:p>
          <a:p>
            <a:pPr marL="131763" indent="-131763" fontAlgn="base">
              <a:spcAft>
                <a:spcPct val="0"/>
              </a:spcAft>
            </a:pPr>
            <a:r>
              <a:rPr lang="en-US" sz="800" dirty="0">
                <a:solidFill>
                  <a:prstClr val="white"/>
                </a:solidFill>
              </a:rPr>
              <a:t>2	OECD Development Centre, Working Paper No. 285, The Emerging Middle Class in Developing Countries</a:t>
            </a:r>
          </a:p>
        </p:txBody>
      </p:sp>
    </p:spTree>
    <p:extLst>
      <p:ext uri="{BB962C8B-B14F-4D97-AF65-F5344CB8AC3E}">
        <p14:creationId xmlns:p14="http://schemas.microsoft.com/office/powerpoint/2010/main" val="692621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2400" dirty="0">
                <a:solidFill>
                  <a:srgbClr val="FFFFFF"/>
                </a:solidFill>
                <a:latin typeface="Gotham Medium"/>
                <a:cs typeface="Arial" pitchFamily="34" charset="0"/>
              </a:rPr>
              <a:t>The supply / demand imbalance is bad news for business</a:t>
            </a:r>
            <a:endParaRPr lang="en-US" sz="110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sp>
        <p:nvSpPr>
          <p:cNvPr id="6" name="Text Placeholder 1"/>
          <p:cNvSpPr txBox="1">
            <a:spLocks/>
          </p:cNvSpPr>
          <p:nvPr/>
        </p:nvSpPr>
        <p:spPr>
          <a:xfrm>
            <a:off x="395536" y="1104872"/>
            <a:ext cx="8197850" cy="3222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 fontAlgn="base">
              <a:spcBef>
                <a:spcPts val="600"/>
              </a:spcBef>
              <a:spcAft>
                <a:spcPct val="0"/>
              </a:spcAft>
              <a:buNone/>
            </a:pPr>
            <a:r>
              <a:rPr lang="en-GB" sz="1800" dirty="0">
                <a:solidFill>
                  <a:srgbClr val="FF0000"/>
                </a:solidFill>
                <a:latin typeface="Gotham Medium"/>
                <a:cs typeface="Arial" pitchFamily="34" charset="0"/>
              </a:rPr>
              <a:t>GDP and commodity price development 1960-2014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461" y="1541121"/>
            <a:ext cx="7216603" cy="3077831"/>
          </a:xfrm>
          <a:prstGeom prst="rect">
            <a:avLst/>
          </a:prstGeom>
        </p:spPr>
      </p:pic>
      <p:sp>
        <p:nvSpPr>
          <p:cNvPr id="21" name="Footer Placeholder 3"/>
          <p:cNvSpPr txBox="1">
            <a:spLocks/>
          </p:cNvSpPr>
          <p:nvPr/>
        </p:nvSpPr>
        <p:spPr>
          <a:xfrm>
            <a:off x="323618" y="4588219"/>
            <a:ext cx="7098097" cy="246221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GB" sz="800" dirty="0">
                <a:solidFill>
                  <a:prstClr val="white"/>
                </a:solidFill>
              </a:rPr>
              <a:t>Sources: Accenture analysis, The Conference Board, ‘Total Economy Database – Key Findings’, January 2014, http://www.conference-board.org/data/economydatabase/, </a:t>
            </a:r>
            <a:br>
              <a:rPr lang="en-GB" sz="800" dirty="0">
                <a:solidFill>
                  <a:prstClr val="white"/>
                </a:solidFill>
              </a:rPr>
            </a:br>
            <a:r>
              <a:rPr lang="en-GB" sz="800" dirty="0">
                <a:solidFill>
                  <a:prstClr val="white"/>
                </a:solidFill>
              </a:rPr>
              <a:t>The World Bank, ‘World Bank Commodity Price Data (The Pink Sheet)’, December 2014, </a:t>
            </a:r>
            <a:r>
              <a:rPr lang="en-GB" sz="800" dirty="0" err="1">
                <a:solidFill>
                  <a:prstClr val="white"/>
                </a:solidFill>
              </a:rPr>
              <a:t>indexmundi</a:t>
            </a:r>
            <a:r>
              <a:rPr lang="en-GB" sz="800" dirty="0">
                <a:solidFill>
                  <a:prstClr val="white"/>
                </a:solidFill>
              </a:rPr>
              <a:t> commodities http://www.indexmundi.com/commodities</a:t>
            </a:r>
          </a:p>
        </p:txBody>
      </p:sp>
    </p:spTree>
    <p:extLst>
      <p:ext uri="{BB962C8B-B14F-4D97-AF65-F5344CB8AC3E}">
        <p14:creationId xmlns:p14="http://schemas.microsoft.com/office/powerpoint/2010/main" val="42701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spect="1"/>
          </p:cNvSpPr>
          <p:nvPr/>
        </p:nvSpPr>
        <p:spPr>
          <a:xfrm>
            <a:off x="308341" y="312872"/>
            <a:ext cx="8517160" cy="79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2400" dirty="0">
                <a:solidFill>
                  <a:prstClr val="white"/>
                </a:solidFill>
                <a:latin typeface="Gotham Medium"/>
                <a:ea typeface="+mj-ea"/>
                <a:cs typeface="+mj-cs"/>
              </a:rPr>
              <a:t>A 4-dimensional view on waste is required to see the real potential</a:t>
            </a:r>
            <a:endParaRPr lang="en-US" sz="1050" dirty="0">
              <a:solidFill>
                <a:schemeClr val="bg1"/>
              </a:solidFill>
              <a:latin typeface="Gotham Medium"/>
              <a:cs typeface="Gotham Medium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676" y="1245206"/>
            <a:ext cx="7350506" cy="325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589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Accenture PPT template_v11_16pt_Strategy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0000"/>
      </a:accent1>
      <a:accent2>
        <a:srgbClr val="666666"/>
      </a:accent2>
      <a:accent3>
        <a:srgbClr val="778888"/>
      </a:accent3>
      <a:accent4>
        <a:srgbClr val="CBCCCC"/>
      </a:accent4>
      <a:accent5>
        <a:srgbClr val="FF0000"/>
      </a:accent5>
      <a:accent6>
        <a:srgbClr val="666666"/>
      </a:accent6>
      <a:hlink>
        <a:srgbClr val="778888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3</TotalTime>
  <Words>546</Words>
  <Application>Microsoft Office PowerPoint</Application>
  <PresentationFormat>On-screen Show (16:9)</PresentationFormat>
  <Paragraphs>67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Calibri</vt:lpstr>
      <vt:lpstr>Gotham Medium</vt:lpstr>
      <vt:lpstr>Lucida Grande</vt:lpstr>
      <vt:lpstr>Office Theme</vt:lpstr>
      <vt:lpstr>Accenture PPT template_v11_16pt_Strategy</vt:lpstr>
      <vt:lpstr>think-cell Slide</vt:lpstr>
      <vt:lpstr>Trends to Value Chains: Circular Econom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cente Zanatta</dc:creator>
  <cp:lastModifiedBy>Mangueira, Marcelo</cp:lastModifiedBy>
  <cp:revision>11</cp:revision>
  <dcterms:created xsi:type="dcterms:W3CDTF">2015-08-19T14:57:25Z</dcterms:created>
  <dcterms:modified xsi:type="dcterms:W3CDTF">2015-09-21T20:23:03Z</dcterms:modified>
</cp:coreProperties>
</file>